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1"/>
  </p:sldMasterIdLst>
  <p:notesMasterIdLst>
    <p:notesMasterId r:id="rId19"/>
  </p:notesMasterIdLst>
  <p:sldIdLst>
    <p:sldId id="376" r:id="rId2"/>
    <p:sldId id="365" r:id="rId3"/>
    <p:sldId id="302" r:id="rId4"/>
    <p:sldId id="384" r:id="rId5"/>
    <p:sldId id="383" r:id="rId6"/>
    <p:sldId id="377" r:id="rId7"/>
    <p:sldId id="385" r:id="rId8"/>
    <p:sldId id="367" r:id="rId9"/>
    <p:sldId id="378" r:id="rId10"/>
    <p:sldId id="386" r:id="rId11"/>
    <p:sldId id="368" r:id="rId12"/>
    <p:sldId id="379" r:id="rId13"/>
    <p:sldId id="387" r:id="rId14"/>
    <p:sldId id="369" r:id="rId15"/>
    <p:sldId id="380" r:id="rId16"/>
    <p:sldId id="388" r:id="rId17"/>
    <p:sldId id="370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269" userDrawn="1">
          <p15:clr>
            <a:srgbClr val="A4A3A4"/>
          </p15:clr>
        </p15:guide>
        <p15:guide id="4" orient="horz" pos="2760" userDrawn="1">
          <p15:clr>
            <a:srgbClr val="A4A3A4"/>
          </p15:clr>
        </p15:guide>
        <p15:guide id="5" pos="7411" userDrawn="1">
          <p15:clr>
            <a:srgbClr val="A4A3A4"/>
          </p15:clr>
        </p15:guide>
        <p15:guide id="6" pos="4632" userDrawn="1">
          <p15:clr>
            <a:srgbClr val="A4A3A4"/>
          </p15:clr>
        </p15:guide>
        <p15:guide id="7" pos="5988" userDrawn="1">
          <p15:clr>
            <a:srgbClr val="A4A3A4"/>
          </p15:clr>
        </p15:guide>
        <p15:guide id="9" pos="6546" userDrawn="1">
          <p15:clr>
            <a:srgbClr val="A4A3A4"/>
          </p15:clr>
        </p15:guide>
        <p15:guide id="10" orient="horz" pos="3264" userDrawn="1">
          <p15:clr>
            <a:srgbClr val="A4A3A4"/>
          </p15:clr>
        </p15:guide>
        <p15:guide id="11" orient="horz" pos="1728" userDrawn="1">
          <p15:clr>
            <a:srgbClr val="A4A3A4"/>
          </p15:clr>
        </p15:guide>
        <p15:guide id="13" orient="horz" pos="2347" userDrawn="1">
          <p15:clr>
            <a:srgbClr val="A4A3A4"/>
          </p15:clr>
        </p15:guide>
        <p15:guide id="14" orient="horz" pos="124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8800"/>
    <a:srgbClr val="9B9B9B"/>
    <a:srgbClr val="5A5A5A"/>
    <a:srgbClr val="636669"/>
    <a:srgbClr val="FF6600"/>
    <a:srgbClr val="DDDDDD"/>
    <a:srgbClr val="BFBFBF"/>
    <a:srgbClr val="A1C0E0"/>
    <a:srgbClr val="B1CBE5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67" autoAdjust="0"/>
    <p:restoredTop sz="93557" autoAdjust="0"/>
  </p:normalViewPr>
  <p:slideViewPr>
    <p:cSldViewPr snapToGrid="0">
      <p:cViewPr varScale="1">
        <p:scale>
          <a:sx n="114" d="100"/>
          <a:sy n="114" d="100"/>
        </p:scale>
        <p:origin x="126" y="102"/>
      </p:cViewPr>
      <p:guideLst>
        <p:guide orient="horz" pos="696"/>
        <p:guide pos="269"/>
        <p:guide orient="horz" pos="2760"/>
        <p:guide pos="7411"/>
        <p:guide pos="4632"/>
        <p:guide pos="5988"/>
        <p:guide pos="6546"/>
        <p:guide orient="horz" pos="3264"/>
        <p:guide orient="horz" pos="1728"/>
        <p:guide orient="horz" pos="2347"/>
        <p:guide orient="horz" pos="12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3230575295612E-2"/>
          <c:y val="0.18005769684075076"/>
          <c:w val="0.94527363184079605"/>
          <c:h val="0.6164581962438949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39191</c:v>
                </c:pt>
                <c:pt idx="1">
                  <c:v>39235</c:v>
                </c:pt>
                <c:pt idx="2">
                  <c:v>48503</c:v>
                </c:pt>
                <c:pt idx="3">
                  <c:v>39138</c:v>
                </c:pt>
                <c:pt idx="4">
                  <c:v>38565</c:v>
                </c:pt>
                <c:pt idx="5">
                  <c:v>48009</c:v>
                </c:pt>
                <c:pt idx="6">
                  <c:v>38195</c:v>
                </c:pt>
                <c:pt idx="7">
                  <c:v>39224</c:v>
                </c:pt>
                <c:pt idx="8">
                  <c:v>48983</c:v>
                </c:pt>
                <c:pt idx="9">
                  <c:v>37983</c:v>
                </c:pt>
                <c:pt idx="10">
                  <c:v>39250</c:v>
                </c:pt>
                <c:pt idx="11">
                  <c:v>4630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9D1-423A-AE65-4139944E73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roval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8996</c:v>
                </c:pt>
                <c:pt idx="1">
                  <c:v>38731</c:v>
                </c:pt>
                <c:pt idx="2">
                  <c:v>48559</c:v>
                </c:pt>
                <c:pt idx="3">
                  <c:v>39476</c:v>
                </c:pt>
                <c:pt idx="4">
                  <c:v>38503</c:v>
                </c:pt>
                <c:pt idx="5">
                  <c:v>48934</c:v>
                </c:pt>
                <c:pt idx="6">
                  <c:v>38239</c:v>
                </c:pt>
                <c:pt idx="7">
                  <c:v>39170</c:v>
                </c:pt>
                <c:pt idx="8">
                  <c:v>48751</c:v>
                </c:pt>
                <c:pt idx="9">
                  <c:v>38655</c:v>
                </c:pt>
                <c:pt idx="10">
                  <c:v>39330</c:v>
                </c:pt>
                <c:pt idx="11">
                  <c:v>4845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59D1-423A-AE65-4139944E73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98710976"/>
        <c:axId val="1198708352"/>
      </c:lineChart>
      <c:catAx>
        <c:axId val="1198710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08352"/>
        <c:crosses val="autoZero"/>
        <c:auto val="1"/>
        <c:lblAlgn val="ctr"/>
        <c:lblOffset val="100"/>
        <c:tickMarkSkip val="2"/>
        <c:noMultiLvlLbl val="0"/>
      </c:catAx>
      <c:valAx>
        <c:axId val="1198708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82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1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318407960199E-2"/>
          <c:y val="6.3072085149842194E-2"/>
          <c:w val="0.94527363184079605"/>
          <c:h val="0.730444176865805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s</c:v>
                </c:pt>
              </c:strCache>
            </c:strRef>
          </c:tx>
          <c:spPr>
            <a:solidFill>
              <a:srgbClr val="22880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2288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53C-4EB4-BF36-93637168AFC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Jan'20 - May'20</c:v>
                </c:pt>
                <c:pt idx="1">
                  <c:v>Jan'21 - May'21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742</c:v>
                </c:pt>
                <c:pt idx="1">
                  <c:v>8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53C-4EB4-BF36-93637168AFC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rova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53C-4EB4-BF36-93637168AFC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53C-4EB4-BF36-93637168AFC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Jan'20 - May'20</c:v>
                </c:pt>
                <c:pt idx="1">
                  <c:v>Jan'21 - May'21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8263</c:v>
                </c:pt>
                <c:pt idx="1">
                  <c:v>79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53C-4EB4-BF36-93637168AFC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92"/>
        <c:overlap val="-15"/>
        <c:axId val="1198710976"/>
        <c:axId val="1198708352"/>
      </c:barChart>
      <c:catAx>
        <c:axId val="1198710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08352"/>
        <c:crosses val="autoZero"/>
        <c:auto val="1"/>
        <c:lblAlgn val="ctr"/>
        <c:lblOffset val="100"/>
        <c:noMultiLvlLbl val="0"/>
      </c:catAx>
      <c:valAx>
        <c:axId val="119870835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1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318407960199E-2"/>
          <c:y val="6.3072085149842194E-2"/>
          <c:w val="0.94527363184079605"/>
          <c:h val="0.730444176865805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2288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DEC-470E-9EC8-33D2B3D4A045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Jan'20 - May'20</c:v>
                </c:pt>
                <c:pt idx="1">
                  <c:v>Jan'21 - May'21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4632</c:v>
                </c:pt>
                <c:pt idx="1">
                  <c:v>194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EC-470E-9EC8-33D2B3D4A04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rova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DEC-470E-9EC8-33D2B3D4A04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DEC-470E-9EC8-33D2B3D4A0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Jan'20 - May'20</c:v>
                </c:pt>
                <c:pt idx="1">
                  <c:v>Jan'21 - May'21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04265</c:v>
                </c:pt>
                <c:pt idx="1">
                  <c:v>194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DEC-470E-9EC8-33D2B3D4A04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92"/>
        <c:overlap val="-15"/>
        <c:axId val="1198710976"/>
        <c:axId val="1198708352"/>
      </c:barChart>
      <c:catAx>
        <c:axId val="1198710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08352"/>
        <c:crosses val="autoZero"/>
        <c:auto val="1"/>
        <c:lblAlgn val="ctr"/>
        <c:lblOffset val="100"/>
        <c:noMultiLvlLbl val="0"/>
      </c:catAx>
      <c:valAx>
        <c:axId val="119870835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1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3230575295612E-2"/>
          <c:y val="0.18005769684075076"/>
          <c:w val="0.94527363184079605"/>
          <c:h val="0.6164581962438949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018</c:v>
                </c:pt>
                <c:pt idx="1">
                  <c:v>1849</c:v>
                </c:pt>
                <c:pt idx="2">
                  <c:v>2115</c:v>
                </c:pt>
                <c:pt idx="3">
                  <c:v>1783</c:v>
                </c:pt>
                <c:pt idx="4">
                  <c:v>1631</c:v>
                </c:pt>
                <c:pt idx="5">
                  <c:v>2320</c:v>
                </c:pt>
                <c:pt idx="6">
                  <c:v>1898</c:v>
                </c:pt>
                <c:pt idx="7">
                  <c:v>1720</c:v>
                </c:pt>
                <c:pt idx="8">
                  <c:v>2237</c:v>
                </c:pt>
                <c:pt idx="9">
                  <c:v>1772</c:v>
                </c:pt>
                <c:pt idx="10">
                  <c:v>1743</c:v>
                </c:pt>
                <c:pt idx="11">
                  <c:v>232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39B-4972-A2C1-B8D91802E1F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roval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681</c:v>
                </c:pt>
                <c:pt idx="1">
                  <c:v>1956</c:v>
                </c:pt>
                <c:pt idx="2">
                  <c:v>2305</c:v>
                </c:pt>
                <c:pt idx="3">
                  <c:v>1990</c:v>
                </c:pt>
                <c:pt idx="4">
                  <c:v>1696</c:v>
                </c:pt>
                <c:pt idx="5">
                  <c:v>1958</c:v>
                </c:pt>
                <c:pt idx="6">
                  <c:v>1851</c:v>
                </c:pt>
                <c:pt idx="7">
                  <c:v>1625</c:v>
                </c:pt>
                <c:pt idx="8">
                  <c:v>2242</c:v>
                </c:pt>
                <c:pt idx="9">
                  <c:v>1897</c:v>
                </c:pt>
                <c:pt idx="10">
                  <c:v>2032</c:v>
                </c:pt>
                <c:pt idx="11">
                  <c:v>230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39B-4972-A2C1-B8D91802E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98710976"/>
        <c:axId val="1198708352"/>
      </c:lineChart>
      <c:catAx>
        <c:axId val="1198710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08352"/>
        <c:crosses val="autoZero"/>
        <c:auto val="1"/>
        <c:lblAlgn val="ctr"/>
        <c:lblOffset val="100"/>
        <c:tickMarkSkip val="2"/>
        <c:noMultiLvlLbl val="0"/>
      </c:catAx>
      <c:valAx>
        <c:axId val="1198708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82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1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318407960199E-2"/>
          <c:y val="6.3072085149842194E-2"/>
          <c:w val="0.94527363184079605"/>
          <c:h val="0.730444176865805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2288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F69-4E5B-92E3-5BDA00950A7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Jan'20 - May'20</c:v>
                </c:pt>
                <c:pt idx="1">
                  <c:v>Jan'21 - May'21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396</c:v>
                </c:pt>
                <c:pt idx="1">
                  <c:v>8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F69-4E5B-92E3-5BDA00950A7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rova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F69-4E5B-92E3-5BDA00950A7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F69-4E5B-92E3-5BDA00950A7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Jan'20 - May'20</c:v>
                </c:pt>
                <c:pt idx="1">
                  <c:v>Jan'21 - May'21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9628</c:v>
                </c:pt>
                <c:pt idx="1">
                  <c:v>9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F69-4E5B-92E3-5BDA00950A7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92"/>
        <c:overlap val="-15"/>
        <c:axId val="1198710976"/>
        <c:axId val="1198708352"/>
      </c:barChart>
      <c:catAx>
        <c:axId val="1198710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08352"/>
        <c:crosses val="autoZero"/>
        <c:auto val="1"/>
        <c:lblAlgn val="ctr"/>
        <c:lblOffset val="100"/>
        <c:noMultiLvlLbl val="0"/>
      </c:catAx>
      <c:valAx>
        <c:axId val="119870835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1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3230575295612E-2"/>
          <c:y val="0.18005769684075076"/>
          <c:w val="0.94527363184079605"/>
          <c:h val="0.6164581962438949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9956</c:v>
                </c:pt>
                <c:pt idx="1">
                  <c:v>10103</c:v>
                </c:pt>
                <c:pt idx="2">
                  <c:v>12780</c:v>
                </c:pt>
                <c:pt idx="3">
                  <c:v>10067</c:v>
                </c:pt>
                <c:pt idx="4">
                  <c:v>10426</c:v>
                </c:pt>
                <c:pt idx="5">
                  <c:v>12893</c:v>
                </c:pt>
                <c:pt idx="6">
                  <c:v>9952</c:v>
                </c:pt>
                <c:pt idx="7">
                  <c:v>10784</c:v>
                </c:pt>
                <c:pt idx="8">
                  <c:v>12427</c:v>
                </c:pt>
                <c:pt idx="9">
                  <c:v>10193</c:v>
                </c:pt>
                <c:pt idx="10">
                  <c:v>9849</c:v>
                </c:pt>
                <c:pt idx="11">
                  <c:v>1195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9DE-49AF-AC2E-5E4FF95BB27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roval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0172</c:v>
                </c:pt>
                <c:pt idx="1">
                  <c:v>10198</c:v>
                </c:pt>
                <c:pt idx="2">
                  <c:v>12599</c:v>
                </c:pt>
                <c:pt idx="3">
                  <c:v>10307</c:v>
                </c:pt>
                <c:pt idx="4">
                  <c:v>10214</c:v>
                </c:pt>
                <c:pt idx="5">
                  <c:v>13000</c:v>
                </c:pt>
                <c:pt idx="6">
                  <c:v>9757</c:v>
                </c:pt>
                <c:pt idx="7">
                  <c:v>10435</c:v>
                </c:pt>
                <c:pt idx="8">
                  <c:v>12638</c:v>
                </c:pt>
                <c:pt idx="9">
                  <c:v>9685</c:v>
                </c:pt>
                <c:pt idx="10">
                  <c:v>10336</c:v>
                </c:pt>
                <c:pt idx="11">
                  <c:v>1259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49DE-49AF-AC2E-5E4FF95BB2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98710976"/>
        <c:axId val="1198708352"/>
      </c:lineChart>
      <c:catAx>
        <c:axId val="1198710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08352"/>
        <c:crosses val="autoZero"/>
        <c:auto val="1"/>
        <c:lblAlgn val="ctr"/>
        <c:lblOffset val="100"/>
        <c:tickMarkSkip val="2"/>
        <c:noMultiLvlLbl val="0"/>
      </c:catAx>
      <c:valAx>
        <c:axId val="1198708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82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1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318407960199E-2"/>
          <c:y val="6.3072085149842194E-2"/>
          <c:w val="0.94527363184079605"/>
          <c:h val="0.730444176865805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2288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90-4DBD-983C-F508CA2F999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Jan'20 - May'20</c:v>
                </c:pt>
                <c:pt idx="1">
                  <c:v>Jan'21 - May'21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3332</c:v>
                </c:pt>
                <c:pt idx="1">
                  <c:v>505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590-4DBD-983C-F508CA2F999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rova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590-4DBD-983C-F508CA2F999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590-4DBD-983C-F508CA2F999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Jan'20 - May'20</c:v>
                </c:pt>
                <c:pt idx="1">
                  <c:v>Jan'21 - May'21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53490</c:v>
                </c:pt>
                <c:pt idx="1">
                  <c:v>51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590-4DBD-983C-F508CA2F999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92"/>
        <c:overlap val="-15"/>
        <c:axId val="1198710976"/>
        <c:axId val="1198708352"/>
      </c:barChart>
      <c:catAx>
        <c:axId val="1198710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08352"/>
        <c:crosses val="autoZero"/>
        <c:auto val="1"/>
        <c:lblAlgn val="ctr"/>
        <c:lblOffset val="100"/>
        <c:noMultiLvlLbl val="0"/>
      </c:catAx>
      <c:valAx>
        <c:axId val="119870835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1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3230575295612E-2"/>
          <c:y val="0.18005769684075076"/>
          <c:w val="0.94527363184079605"/>
          <c:h val="0.6164581962438949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5307</c:v>
                </c:pt>
                <c:pt idx="1">
                  <c:v>25354</c:v>
                </c:pt>
                <c:pt idx="2">
                  <c:v>31410</c:v>
                </c:pt>
                <c:pt idx="3">
                  <c:v>25338</c:v>
                </c:pt>
                <c:pt idx="4">
                  <c:v>24637</c:v>
                </c:pt>
                <c:pt idx="5">
                  <c:v>30545</c:v>
                </c:pt>
                <c:pt idx="6">
                  <c:v>24821</c:v>
                </c:pt>
                <c:pt idx="7">
                  <c:v>24949</c:v>
                </c:pt>
                <c:pt idx="8">
                  <c:v>31651</c:v>
                </c:pt>
                <c:pt idx="9">
                  <c:v>24511</c:v>
                </c:pt>
                <c:pt idx="10">
                  <c:v>25625</c:v>
                </c:pt>
                <c:pt idx="11">
                  <c:v>3012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E300-46D3-9968-E4E66BFEE64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roval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5295</c:v>
                </c:pt>
                <c:pt idx="1">
                  <c:v>24882</c:v>
                </c:pt>
                <c:pt idx="2">
                  <c:v>31244</c:v>
                </c:pt>
                <c:pt idx="3">
                  <c:v>25450</c:v>
                </c:pt>
                <c:pt idx="4">
                  <c:v>24875</c:v>
                </c:pt>
                <c:pt idx="5">
                  <c:v>31816</c:v>
                </c:pt>
                <c:pt idx="6">
                  <c:v>24764</c:v>
                </c:pt>
                <c:pt idx="7">
                  <c:v>25475</c:v>
                </c:pt>
                <c:pt idx="8">
                  <c:v>31459</c:v>
                </c:pt>
                <c:pt idx="9">
                  <c:v>25419</c:v>
                </c:pt>
                <c:pt idx="10">
                  <c:v>25341</c:v>
                </c:pt>
                <c:pt idx="11">
                  <c:v>3121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E300-46D3-9968-E4E66BFEE6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98710976"/>
        <c:axId val="1198708352"/>
      </c:lineChart>
      <c:catAx>
        <c:axId val="1198710976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08352"/>
        <c:crosses val="autoZero"/>
        <c:auto val="1"/>
        <c:lblAlgn val="ctr"/>
        <c:lblOffset val="100"/>
        <c:tickMarkSkip val="2"/>
        <c:noMultiLvlLbl val="0"/>
      </c:catAx>
      <c:valAx>
        <c:axId val="1198708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82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1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318407960199E-2"/>
          <c:y val="6.3072085149842194E-2"/>
          <c:w val="0.94527363184079605"/>
          <c:h val="0.730444176865805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s</c:v>
                </c:pt>
              </c:strCache>
            </c:strRef>
          </c:tx>
          <c:spPr>
            <a:solidFill>
              <a:srgbClr val="22880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2288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C9E-412E-A8D5-3AACC0AB1D5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Jan'20 - May'20</c:v>
                </c:pt>
                <c:pt idx="1">
                  <c:v>Jan'21 - May'21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32046</c:v>
                </c:pt>
                <c:pt idx="1">
                  <c:v>126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C9E-412E-A8D5-3AACC0AB1D5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rova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C9E-412E-A8D5-3AACC0AB1D5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C9E-412E-A8D5-3AACC0AB1D5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Jan'20 - May'20</c:v>
                </c:pt>
                <c:pt idx="1">
                  <c:v>Jan'21 - May'21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31746</c:v>
                </c:pt>
                <c:pt idx="1">
                  <c:v>1250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C9E-412E-A8D5-3AACC0AB1D5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92"/>
        <c:overlap val="-15"/>
        <c:axId val="1198710976"/>
        <c:axId val="1198708352"/>
      </c:barChart>
      <c:catAx>
        <c:axId val="1198710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08352"/>
        <c:crosses val="autoZero"/>
        <c:auto val="1"/>
        <c:lblAlgn val="ctr"/>
        <c:lblOffset val="100"/>
        <c:noMultiLvlLbl val="0"/>
      </c:catAx>
      <c:valAx>
        <c:axId val="119870835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1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63230575295612E-2"/>
          <c:y val="0.18005769684075076"/>
          <c:w val="0.94527363184079605"/>
          <c:h val="0.6164581962438949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724</c:v>
                </c:pt>
                <c:pt idx="1">
                  <c:v>1702</c:v>
                </c:pt>
                <c:pt idx="2">
                  <c:v>1937</c:v>
                </c:pt>
                <c:pt idx="3">
                  <c:v>1733</c:v>
                </c:pt>
                <c:pt idx="4">
                  <c:v>1646</c:v>
                </c:pt>
                <c:pt idx="5">
                  <c:v>1982</c:v>
                </c:pt>
                <c:pt idx="6">
                  <c:v>1313</c:v>
                </c:pt>
                <c:pt idx="7">
                  <c:v>1590</c:v>
                </c:pt>
                <c:pt idx="8">
                  <c:v>2396</c:v>
                </c:pt>
                <c:pt idx="9">
                  <c:v>1360</c:v>
                </c:pt>
                <c:pt idx="10">
                  <c:v>1833</c:v>
                </c:pt>
                <c:pt idx="11">
                  <c:v>165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A37-4A69-B91A-601CFDE024F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roval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699</c:v>
                </c:pt>
                <c:pt idx="1">
                  <c:v>1498</c:v>
                </c:pt>
                <c:pt idx="2">
                  <c:v>2099</c:v>
                </c:pt>
                <c:pt idx="3">
                  <c:v>1499</c:v>
                </c:pt>
                <c:pt idx="4">
                  <c:v>1468</c:v>
                </c:pt>
                <c:pt idx="5">
                  <c:v>1943</c:v>
                </c:pt>
                <c:pt idx="6">
                  <c:v>1653</c:v>
                </c:pt>
                <c:pt idx="7">
                  <c:v>1428</c:v>
                </c:pt>
                <c:pt idx="8">
                  <c:v>2136</c:v>
                </c:pt>
                <c:pt idx="9">
                  <c:v>1500</c:v>
                </c:pt>
                <c:pt idx="10">
                  <c:v>1490</c:v>
                </c:pt>
                <c:pt idx="11">
                  <c:v>202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A37-4A69-B91A-601CFDE024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98710976"/>
        <c:axId val="1198708352"/>
      </c:lineChart>
      <c:catAx>
        <c:axId val="1198710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08352"/>
        <c:crosses val="autoZero"/>
        <c:auto val="1"/>
        <c:lblAlgn val="ctr"/>
        <c:lblOffset val="100"/>
        <c:tickMarkSkip val="2"/>
        <c:noMultiLvlLbl val="0"/>
      </c:catAx>
      <c:valAx>
        <c:axId val="1198708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  <a:alpha val="82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8710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C89601-8714-411B-9722-5FCEA20F5483}" type="datetimeFigureOut">
              <a:rPr lang="en-US" smtClean="0"/>
              <a:t>7/30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5E7C9B-2316-4E05-B19E-EEE511DE49C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00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spcBef>
                <a:spcPts val="1600"/>
              </a:spcBef>
              <a:buClr>
                <a:srgbClr val="0072CE"/>
              </a:buClr>
              <a:buSzPct val="130000"/>
              <a:buFont typeface="Arial" panose="020B0604020202020204" pitchFamily="34" charset="0"/>
              <a:buChar char="​"/>
              <a:defRPr/>
            </a:pPr>
            <a:fld id="{3C6C2464-60A7-4E30-A622-ADF34D2E293A}" type="slidenum">
              <a:rPr lang="en-US" sz="900" kern="1400" smtClean="0">
                <a:solidFill>
                  <a:srgbClr val="000000"/>
                </a:solidFill>
                <a:latin typeface="Arial"/>
              </a:rPr>
              <a:pPr>
                <a:spcBef>
                  <a:spcPts val="1600"/>
                </a:spcBef>
                <a:buClr>
                  <a:srgbClr val="0072CE"/>
                </a:buClr>
                <a:buSzPct val="130000"/>
                <a:buFont typeface="Arial" panose="020B0604020202020204" pitchFamily="34" charset="0"/>
                <a:buChar char="​"/>
                <a:defRPr/>
              </a:pPr>
              <a:t>1</a:t>
            </a:fld>
            <a:endParaRPr lang="en-US" sz="900" kern="14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3540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5E7C9B-2316-4E05-B19E-EEE511DE49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0908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5E7C9B-2316-4E05-B19E-EEE511DE49CC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5515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5E7C9B-2316-4E05-B19E-EEE511DE49C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4133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5E7C9B-2316-4E05-B19E-EEE511DE49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71387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5E7C9B-2316-4E05-B19E-EEE511DE49CC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96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5E7C9B-2316-4E05-B19E-EEE511DE49CC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8930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5E7C9B-2316-4E05-B19E-EEE511DE49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1341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5E7C9B-2316-4E05-B19E-EEE511DE49C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5273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5E7C9B-2316-4E05-B19E-EEE511DE49C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3703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5E7C9B-2316-4E05-B19E-EEE511DE49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628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5E7C9B-2316-4E05-B19E-EEE511DE49C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31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5E7C9B-2316-4E05-B19E-EEE511DE49C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824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5E7C9B-2316-4E05-B19E-EEE511DE49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737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5E7C9B-2316-4E05-B19E-EEE511DE49C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2335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5E7C9B-2316-4E05-B19E-EEE511DE49CC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418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- option 1" type="title" preserve="1">
  <p:cSld name="title - option 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16"/>
          <p:cNvSpPr/>
          <p:nvPr/>
        </p:nvSpPr>
        <p:spPr>
          <a:xfrm>
            <a:off x="9753600" y="0"/>
            <a:ext cx="24384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24;p16"/>
          <p:cNvSpPr txBox="1">
            <a:spLocks noGrp="1"/>
          </p:cNvSpPr>
          <p:nvPr>
            <p:ph type="ctrTitle"/>
          </p:nvPr>
        </p:nvSpPr>
        <p:spPr>
          <a:xfrm>
            <a:off x="5733534" y="2499519"/>
            <a:ext cx="6077265" cy="19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Arial"/>
              <a:buNone/>
              <a:defRPr sz="4800" b="1" i="0" u="none" strike="noStrike" cap="none">
                <a:solidFill>
                  <a:srgbClr val="2288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25" name="Google Shape;25;p16"/>
          <p:cNvSpPr txBox="1">
            <a:spLocks noGrp="1"/>
          </p:cNvSpPr>
          <p:nvPr>
            <p:ph type="subTitle" idx="1"/>
          </p:nvPr>
        </p:nvSpPr>
        <p:spPr>
          <a:xfrm>
            <a:off x="5733533" y="4468205"/>
            <a:ext cx="6077267" cy="8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R="0" lvl="0" algn="l">
              <a:lnSpc>
                <a:spcPct val="11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rgbClr val="63666A"/>
              </a:buClr>
              <a:buSzPts val="1500"/>
              <a:buFont typeface="Arial"/>
              <a:buNone/>
              <a:defRPr sz="20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  <p:sp>
        <p:nvSpPr>
          <p:cNvPr id="26" name="Google Shape;26;p16"/>
          <p:cNvSpPr/>
          <p:nvPr/>
        </p:nvSpPr>
        <p:spPr>
          <a:xfrm>
            <a:off x="0" y="0"/>
            <a:ext cx="4876800" cy="6858000"/>
          </a:xfrm>
          <a:prstGeom prst="rect">
            <a:avLst/>
          </a:prstGeom>
          <a:solidFill>
            <a:srgbClr val="228800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1807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 preserve="1">
  <p:cSld name="Two Content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20"/>
          <p:cNvSpPr txBox="1">
            <a:spLocks noGrp="1"/>
          </p:cNvSpPr>
          <p:nvPr>
            <p:ph type="title"/>
          </p:nvPr>
        </p:nvSpPr>
        <p:spPr>
          <a:xfrm>
            <a:off x="386644" y="365125"/>
            <a:ext cx="11424400" cy="6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3B02A"/>
              </a:buClr>
              <a:buSzPts val="2100"/>
              <a:buFont typeface="Arial"/>
              <a:buNone/>
              <a:defRPr sz="2800" b="1" i="0" u="none" strike="noStrike" cap="none">
                <a:solidFill>
                  <a:srgbClr val="2288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2" name="Google Shape;52;p20"/>
          <p:cNvSpPr txBox="1">
            <a:spLocks noGrp="1"/>
          </p:cNvSpPr>
          <p:nvPr>
            <p:ph type="body" idx="1"/>
          </p:nvPr>
        </p:nvSpPr>
        <p:spPr>
          <a:xfrm>
            <a:off x="386644" y="1469652"/>
            <a:ext cx="43444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423323" algn="l">
              <a:lnSpc>
                <a:spcPct val="110000"/>
              </a:lnSpc>
              <a:spcBef>
                <a:spcPts val="667"/>
              </a:spcBef>
              <a:spcAft>
                <a:spcPts val="0"/>
              </a:spcAft>
              <a:buClr>
                <a:srgbClr val="63666A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06390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rgbClr val="63666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1100"/>
              <a:buFont typeface="Arial"/>
              <a:buChar char="•"/>
              <a:defRPr sz="14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809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900"/>
              <a:buFont typeface="Arial"/>
              <a:buChar char="•"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809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900"/>
              <a:buFont typeface="Arial"/>
              <a:buChar char="•"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3" name="Google Shape;53;p20"/>
          <p:cNvSpPr txBox="1">
            <a:spLocks noGrp="1"/>
          </p:cNvSpPr>
          <p:nvPr>
            <p:ph type="body" idx="2"/>
          </p:nvPr>
        </p:nvSpPr>
        <p:spPr>
          <a:xfrm>
            <a:off x="4876801" y="1469652"/>
            <a:ext cx="4730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423323" algn="l">
              <a:lnSpc>
                <a:spcPct val="110000"/>
              </a:lnSpc>
              <a:spcBef>
                <a:spcPts val="667"/>
              </a:spcBef>
              <a:spcAft>
                <a:spcPts val="0"/>
              </a:spcAft>
              <a:buClr>
                <a:srgbClr val="63666A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406390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rgbClr val="63666A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1100"/>
              <a:buFont typeface="Arial"/>
              <a:buChar char="•"/>
              <a:defRPr sz="14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809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900"/>
              <a:buFont typeface="Arial"/>
              <a:buChar char="•"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80990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900"/>
              <a:buFont typeface="Arial"/>
              <a:buChar char="•"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4" name="Google Shape;54;p20"/>
          <p:cNvSpPr txBox="1">
            <a:spLocks noGrp="1"/>
          </p:cNvSpPr>
          <p:nvPr>
            <p:ph type="sldNum" idx="12"/>
          </p:nvPr>
        </p:nvSpPr>
        <p:spPr>
          <a:xfrm>
            <a:off x="290936" y="6474024"/>
            <a:ext cx="3200400" cy="1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355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" preserve="1">
  <p:cSld name="1_Two Content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21"/>
          <p:cNvSpPr txBox="1">
            <a:spLocks noGrp="1"/>
          </p:cNvSpPr>
          <p:nvPr>
            <p:ph type="title"/>
          </p:nvPr>
        </p:nvSpPr>
        <p:spPr>
          <a:xfrm>
            <a:off x="2438399" y="365125"/>
            <a:ext cx="9372800" cy="6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50" tIns="34275" rIns="68575" bIns="34275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3B02A"/>
              </a:buClr>
              <a:buSzPts val="2100"/>
              <a:buFont typeface="Arial"/>
              <a:buNone/>
              <a:defRPr sz="2800" b="1" i="0" u="none" strike="noStrike" cap="none">
                <a:solidFill>
                  <a:srgbClr val="2288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7" name="Google Shape;57;p21"/>
          <p:cNvSpPr txBox="1">
            <a:spLocks noGrp="1"/>
          </p:cNvSpPr>
          <p:nvPr>
            <p:ph type="body" idx="1"/>
          </p:nvPr>
        </p:nvSpPr>
        <p:spPr>
          <a:xfrm>
            <a:off x="2438399" y="1537596"/>
            <a:ext cx="4770400" cy="459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50" tIns="34275" rIns="68575" bIns="34275" anchor="t" anchorCtr="0">
            <a:noAutofit/>
          </a:bodyPr>
          <a:lstStyle>
            <a:lvl1pPr marL="609585" marR="0" lvl="0" indent="-304792" algn="l">
              <a:lnSpc>
                <a:spcPct val="110000"/>
              </a:lnSpc>
              <a:spcBef>
                <a:spcPts val="667"/>
              </a:spcBef>
              <a:spcAft>
                <a:spcPts val="0"/>
              </a:spcAft>
              <a:buClr>
                <a:srgbClr val="63666A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047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rgbClr val="63666A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1100"/>
              <a:buFont typeface="Arial"/>
              <a:buNone/>
              <a:defRPr sz="14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8" name="Google Shape;58;p21"/>
          <p:cNvSpPr txBox="1">
            <a:spLocks noGrp="1"/>
          </p:cNvSpPr>
          <p:nvPr>
            <p:ph type="body" idx="2"/>
          </p:nvPr>
        </p:nvSpPr>
        <p:spPr>
          <a:xfrm>
            <a:off x="7315201" y="1537596"/>
            <a:ext cx="4496000" cy="459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marR="0" lvl="0" indent="-304792" algn="l">
              <a:lnSpc>
                <a:spcPct val="110000"/>
              </a:lnSpc>
              <a:spcBef>
                <a:spcPts val="667"/>
              </a:spcBef>
              <a:spcAft>
                <a:spcPts val="0"/>
              </a:spcAft>
              <a:buClr>
                <a:srgbClr val="63666A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047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rgbClr val="63666A"/>
              </a:buClr>
              <a:buSzPts val="1100"/>
              <a:buFont typeface="Arial"/>
              <a:buNone/>
              <a:defRPr sz="14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63666A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Google Shape;59;p21"/>
          <p:cNvSpPr txBox="1">
            <a:spLocks noGrp="1"/>
          </p:cNvSpPr>
          <p:nvPr>
            <p:ph type="sldNum" idx="12"/>
          </p:nvPr>
        </p:nvSpPr>
        <p:spPr>
          <a:xfrm>
            <a:off x="290936" y="6474024"/>
            <a:ext cx="3200400" cy="1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0" name="Google Shape;60;p21"/>
          <p:cNvSpPr txBox="1">
            <a:spLocks noGrp="1"/>
          </p:cNvSpPr>
          <p:nvPr>
            <p:ph type="body" idx="3"/>
          </p:nvPr>
        </p:nvSpPr>
        <p:spPr>
          <a:xfrm>
            <a:off x="2438977" y="1016000"/>
            <a:ext cx="9372000" cy="40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50" tIns="34275" rIns="68575" bIns="34275" anchor="t" anchorCtr="0">
            <a:noAutofit/>
          </a:bodyPr>
          <a:lstStyle>
            <a:lvl1pPr marL="609585" marR="0" lvl="0" indent="-304792" algn="l">
              <a:lnSpc>
                <a:spcPct val="110000"/>
              </a:lnSpc>
              <a:spcBef>
                <a:spcPts val="667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2288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04792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accent2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accent2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15474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 preserve="1" userDrawn="1">
  <p:cSld name="4_Two Conten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22"/>
          <p:cNvSpPr txBox="1">
            <a:spLocks noGrp="1"/>
          </p:cNvSpPr>
          <p:nvPr>
            <p:ph type="sldNum" idx="12"/>
          </p:nvPr>
        </p:nvSpPr>
        <p:spPr>
          <a:xfrm>
            <a:off x="290936" y="6474024"/>
            <a:ext cx="3200400" cy="1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4706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Body + Half Image (R)" type="blank" preserve="1">
  <p:cSld name="Title + Body + Half Image (R)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9"/>
          <p:cNvSpPr txBox="1">
            <a:spLocks noGrp="1"/>
          </p:cNvSpPr>
          <p:nvPr>
            <p:ph type="title"/>
          </p:nvPr>
        </p:nvSpPr>
        <p:spPr>
          <a:xfrm>
            <a:off x="552733" y="6266833"/>
            <a:ext cx="2898800" cy="509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067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067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067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067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067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067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067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067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067"/>
            </a:lvl9pPr>
          </a:lstStyle>
          <a:p>
            <a:endParaRPr/>
          </a:p>
        </p:txBody>
      </p:sp>
      <p:sp>
        <p:nvSpPr>
          <p:cNvPr id="80" name="Google Shape;80;p19"/>
          <p:cNvSpPr txBox="1">
            <a:spLocks noGrp="1"/>
          </p:cNvSpPr>
          <p:nvPr>
            <p:ph type="title" idx="2"/>
          </p:nvPr>
        </p:nvSpPr>
        <p:spPr>
          <a:xfrm>
            <a:off x="552733" y="609600"/>
            <a:ext cx="4630400" cy="11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9"/>
          <p:cNvSpPr txBox="1">
            <a:spLocks noGrp="1"/>
          </p:cNvSpPr>
          <p:nvPr>
            <p:ph type="subTitle" idx="1"/>
          </p:nvPr>
        </p:nvSpPr>
        <p:spPr>
          <a:xfrm>
            <a:off x="552633" y="2097067"/>
            <a:ext cx="4630400" cy="325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cxnSp>
        <p:nvCxnSpPr>
          <p:cNvPr id="82" name="Google Shape;82;p19"/>
          <p:cNvCxnSpPr/>
          <p:nvPr userDrawn="1"/>
        </p:nvCxnSpPr>
        <p:spPr>
          <a:xfrm rot="10800000">
            <a:off x="553000" y="6197600"/>
            <a:ext cx="49800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684206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ow-Ink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6;p16"/>
          <p:cNvSpPr/>
          <p:nvPr userDrawn="1"/>
        </p:nvSpPr>
        <p:spPr>
          <a:xfrm>
            <a:off x="0" y="0"/>
            <a:ext cx="4876800" cy="6858000"/>
          </a:xfrm>
          <a:prstGeom prst="rect">
            <a:avLst/>
          </a:prstGeom>
          <a:solidFill>
            <a:srgbClr val="228800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24;p16"/>
          <p:cNvSpPr txBox="1">
            <a:spLocks noGrp="1"/>
          </p:cNvSpPr>
          <p:nvPr>
            <p:ph type="ctrTitle"/>
          </p:nvPr>
        </p:nvSpPr>
        <p:spPr>
          <a:xfrm>
            <a:off x="5789613" y="2277899"/>
            <a:ext cx="5791201" cy="18718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Arial"/>
              <a:buNone/>
              <a:defRPr sz="3600" b="1" i="0" u="none" strike="noStrike" cap="none">
                <a:solidFill>
                  <a:srgbClr val="2288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0" name="Google Shape;25;p16"/>
          <p:cNvSpPr txBox="1">
            <a:spLocks noGrp="1"/>
          </p:cNvSpPr>
          <p:nvPr>
            <p:ph type="subTitle" idx="1"/>
          </p:nvPr>
        </p:nvSpPr>
        <p:spPr>
          <a:xfrm>
            <a:off x="5789613" y="4249715"/>
            <a:ext cx="5791202" cy="61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R="0" lvl="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63666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3666A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63666A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63666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63666A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82453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or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4" y="1143000"/>
            <a:ext cx="12192000" cy="51435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600"/>
              </a:spcBef>
              <a:buClr>
                <a:srgbClr val="0072CE"/>
              </a:buClr>
              <a:buSzPct val="130000"/>
              <a:buFont typeface="Arial" panose="020B0604020202020204" pitchFamily="34" charset="0"/>
              <a:buChar char="​"/>
            </a:pPr>
            <a:endParaRPr lang="en-US" sz="1400" kern="14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608183" y="1874838"/>
            <a:ext cx="10975659" cy="40413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8445" y="1295400"/>
            <a:ext cx="9603440" cy="342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baseline="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Insert Chart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buClr>
                <a:srgbClr val="000000">
                  <a:lumMod val="65000"/>
                  <a:lumOff val="35000"/>
                </a:srgbClr>
              </a:buClr>
            </a:pPr>
            <a:r>
              <a:rPr dirty="0">
                <a:solidFill>
                  <a:srgbClr val="000000">
                    <a:lumMod val="50000"/>
                    <a:lumOff val="50000"/>
                  </a:srgbClr>
                </a:solidFill>
              </a:rPr>
              <a:t>Optional field for disclaimer or other text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0000"/>
              </a:lnSpc>
              <a:buClr>
                <a:srgbClr val="0072CE"/>
              </a:buClr>
            </a:pPr>
            <a:r>
              <a:rPr dirty="0">
                <a:solidFill>
                  <a:srgbClr val="000000">
                    <a:lumMod val="50000"/>
                    <a:lumOff val="50000"/>
                  </a:srgbClr>
                </a:solidFill>
              </a:rPr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1482098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8D5ADD-07CA-4A69-B666-9683BD1F7BC4}" type="datetimeFigureOut">
              <a:rPr lang="en-US" smtClean="0"/>
              <a:t>7/30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A8072-DF9E-45E9-8ABE-BB6E498D6E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795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86644" y="366184"/>
            <a:ext cx="11424400" cy="652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Google Shape;7;p15"/>
          <p:cNvSpPr txBox="1">
            <a:spLocks noGrp="1"/>
          </p:cNvSpPr>
          <p:nvPr>
            <p:ph type="body" idx="1"/>
          </p:nvPr>
        </p:nvSpPr>
        <p:spPr>
          <a:xfrm>
            <a:off x="386644" y="1465633"/>
            <a:ext cx="11424400" cy="47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marR="0" lvl="0" indent="-3429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63666A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385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63666A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63666A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63666A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63666A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63666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5"/>
          <p:cNvSpPr txBox="1">
            <a:spLocks noGrp="1"/>
          </p:cNvSpPr>
          <p:nvPr>
            <p:ph type="sldNum" idx="12"/>
          </p:nvPr>
        </p:nvSpPr>
        <p:spPr>
          <a:xfrm>
            <a:off x="290936" y="6474024"/>
            <a:ext cx="3200400" cy="13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0" i="0" u="none" strike="noStrike" cap="none">
                <a:solidFill>
                  <a:srgbClr val="61636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11004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1" i="0" u="none" strike="noStrike" cap="none" baseline="0">
          <a:solidFill>
            <a:schemeClr val="accent1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2">
          <p15:clr>
            <a:srgbClr val="F26B43"/>
          </p15:clr>
        </p15:guide>
        <p15:guide id="2" orient="horz" pos="480">
          <p15:clr>
            <a:srgbClr val="F26B43"/>
          </p15:clr>
        </p15:guide>
        <p15:guide id="3" orient="horz" pos="168">
          <p15:clr>
            <a:srgbClr val="F26B43"/>
          </p15:clr>
        </p15:guide>
        <p15:guide id="4" pos="180">
          <p15:clr>
            <a:srgbClr val="F26B43"/>
          </p15:clr>
        </p15:guide>
        <p15:guide id="5" pos="5580">
          <p15:clr>
            <a:srgbClr val="F26B43"/>
          </p15:clr>
        </p15:guide>
        <p15:guide id="6" orient="horz" pos="3109">
          <p15:clr>
            <a:srgbClr val="F26B43"/>
          </p15:clr>
        </p15:guide>
        <p15:guide id="7" pos="1152">
          <p15:clr>
            <a:srgbClr val="F26B43"/>
          </p15:clr>
        </p15:guide>
        <p15:guide id="8" pos="2304">
          <p15:clr>
            <a:srgbClr val="F26B43"/>
          </p15:clr>
        </p15:guide>
        <p15:guide id="9" pos="3456">
          <p15:clr>
            <a:srgbClr val="F26B43"/>
          </p15:clr>
        </p15:guide>
        <p15:guide id="10" pos="46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" Target="slide4.xml"/><Relationship Id="rId3" Type="http://schemas.openxmlformats.org/officeDocument/2006/relationships/notesSlide" Target="../notesSlides/notesSlide9.xml"/><Relationship Id="rId7" Type="http://schemas.openxmlformats.org/officeDocument/2006/relationships/chart" Target="../charts/chart6.xml"/><Relationship Id="rId12" Type="http://schemas.openxmlformats.org/officeDocument/2006/relationships/slide" Target="slide1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chart" Target="../charts/chart5.xml"/><Relationship Id="rId11" Type="http://schemas.openxmlformats.org/officeDocument/2006/relationships/slide" Target="slide13.xml"/><Relationship Id="rId5" Type="http://schemas.openxmlformats.org/officeDocument/2006/relationships/image" Target="../media/image1.emf"/><Relationship Id="rId10" Type="http://schemas.openxmlformats.org/officeDocument/2006/relationships/slide" Target="slide10.xml"/><Relationship Id="rId4" Type="http://schemas.openxmlformats.org/officeDocument/2006/relationships/oleObject" Target="../embeddings/oleObject1.bin"/><Relationship Id="rId9" Type="http://schemas.openxmlformats.org/officeDocument/2006/relationships/slide" Target="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slide" Target="slide8.xml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.png"/><Relationship Id="rId12" Type="http://schemas.openxmlformats.org/officeDocument/2006/relationships/slide" Target="slide5.xml"/><Relationship Id="rId2" Type="http://schemas.openxmlformats.org/officeDocument/2006/relationships/slideLayout" Target="../slideLayouts/slideLayout8.xml"/><Relationship Id="rId16" Type="http://schemas.openxmlformats.org/officeDocument/2006/relationships/slide" Target="slide17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slide" Target="slide14.xml"/><Relationship Id="rId10" Type="http://schemas.openxmlformats.org/officeDocument/2006/relationships/image" Target="../media/image6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png"/><Relationship Id="rId14" Type="http://schemas.openxmlformats.org/officeDocument/2006/relationships/slide" Target="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3" Type="http://schemas.openxmlformats.org/officeDocument/2006/relationships/notesSlide" Target="../notesSlides/notesSlide11.xml"/><Relationship Id="rId7" Type="http://schemas.openxmlformats.org/officeDocument/2006/relationships/slide" Target="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6" Type="http://schemas.openxmlformats.org/officeDocument/2006/relationships/slide" Target="slide3.xml"/><Relationship Id="rId5" Type="http://schemas.openxmlformats.org/officeDocument/2006/relationships/image" Target="../media/image1.emf"/><Relationship Id="rId10" Type="http://schemas.openxmlformats.org/officeDocument/2006/relationships/slide" Target="slide15.xml"/><Relationship Id="rId4" Type="http://schemas.openxmlformats.org/officeDocument/2006/relationships/oleObject" Target="../embeddings/oleObject1.bin"/><Relationship Id="rId9" Type="http://schemas.openxmlformats.org/officeDocument/2006/relationships/slide" Target="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4.xml"/><Relationship Id="rId3" Type="http://schemas.openxmlformats.org/officeDocument/2006/relationships/notesSlide" Target="../notesSlides/notesSlide12.xml"/><Relationship Id="rId7" Type="http://schemas.openxmlformats.org/officeDocument/2006/relationships/chart" Target="../charts/chart8.xml"/><Relationship Id="rId12" Type="http://schemas.openxmlformats.org/officeDocument/2006/relationships/slide" Target="slide1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6" Type="http://schemas.openxmlformats.org/officeDocument/2006/relationships/chart" Target="../charts/chart7.xml"/><Relationship Id="rId11" Type="http://schemas.openxmlformats.org/officeDocument/2006/relationships/slide" Target="slide13.xml"/><Relationship Id="rId5" Type="http://schemas.openxmlformats.org/officeDocument/2006/relationships/image" Target="../media/image1.emf"/><Relationship Id="rId10" Type="http://schemas.openxmlformats.org/officeDocument/2006/relationships/slide" Target="slide10.xml"/><Relationship Id="rId4" Type="http://schemas.openxmlformats.org/officeDocument/2006/relationships/oleObject" Target="../embeddings/oleObject1.bin"/><Relationship Id="rId9" Type="http://schemas.openxmlformats.org/officeDocument/2006/relationships/slide" Target="slide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slide" Target="slide8.xml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.png"/><Relationship Id="rId12" Type="http://schemas.openxmlformats.org/officeDocument/2006/relationships/slide" Target="slide5.xml"/><Relationship Id="rId2" Type="http://schemas.openxmlformats.org/officeDocument/2006/relationships/slideLayout" Target="../slideLayouts/slideLayout8.xml"/><Relationship Id="rId16" Type="http://schemas.openxmlformats.org/officeDocument/2006/relationships/slide" Target="slide17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slide" Target="slide14.xml"/><Relationship Id="rId10" Type="http://schemas.openxmlformats.org/officeDocument/2006/relationships/image" Target="../media/image6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.png"/><Relationship Id="rId14" Type="http://schemas.openxmlformats.org/officeDocument/2006/relationships/slide" Target="slid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3" Type="http://schemas.openxmlformats.org/officeDocument/2006/relationships/notesSlide" Target="../notesSlides/notesSlide14.xml"/><Relationship Id="rId7" Type="http://schemas.openxmlformats.org/officeDocument/2006/relationships/slide" Target="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6" Type="http://schemas.openxmlformats.org/officeDocument/2006/relationships/slide" Target="slide3.xml"/><Relationship Id="rId5" Type="http://schemas.openxmlformats.org/officeDocument/2006/relationships/image" Target="../media/image1.emf"/><Relationship Id="rId10" Type="http://schemas.openxmlformats.org/officeDocument/2006/relationships/slide" Target="slide15.xml"/><Relationship Id="rId4" Type="http://schemas.openxmlformats.org/officeDocument/2006/relationships/oleObject" Target="../embeddings/oleObject1.bin"/><Relationship Id="rId9" Type="http://schemas.openxmlformats.org/officeDocument/2006/relationships/slide" Target="slide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" Target="slide4.xml"/><Relationship Id="rId3" Type="http://schemas.openxmlformats.org/officeDocument/2006/relationships/notesSlide" Target="../notesSlides/notesSlide15.xml"/><Relationship Id="rId7" Type="http://schemas.openxmlformats.org/officeDocument/2006/relationships/chart" Target="../charts/chart10.xml"/><Relationship Id="rId12" Type="http://schemas.openxmlformats.org/officeDocument/2006/relationships/slide" Target="slide1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6" Type="http://schemas.openxmlformats.org/officeDocument/2006/relationships/chart" Target="../charts/chart9.xml"/><Relationship Id="rId11" Type="http://schemas.openxmlformats.org/officeDocument/2006/relationships/slide" Target="slide13.xml"/><Relationship Id="rId5" Type="http://schemas.openxmlformats.org/officeDocument/2006/relationships/image" Target="../media/image1.emf"/><Relationship Id="rId10" Type="http://schemas.openxmlformats.org/officeDocument/2006/relationships/slide" Target="slide10.xml"/><Relationship Id="rId4" Type="http://schemas.openxmlformats.org/officeDocument/2006/relationships/oleObject" Target="../embeddings/oleObject1.bin"/><Relationship Id="rId9" Type="http://schemas.openxmlformats.org/officeDocument/2006/relationships/slide" Target="slide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slide" Target="slide8.xml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.png"/><Relationship Id="rId12" Type="http://schemas.openxmlformats.org/officeDocument/2006/relationships/slide" Target="slide5.xml"/><Relationship Id="rId2" Type="http://schemas.openxmlformats.org/officeDocument/2006/relationships/slideLayout" Target="../slideLayouts/slideLayout8.xml"/><Relationship Id="rId16" Type="http://schemas.openxmlformats.org/officeDocument/2006/relationships/slide" Target="slide17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slide" Target="slide14.xml"/><Relationship Id="rId10" Type="http://schemas.openxmlformats.org/officeDocument/2006/relationships/image" Target="../media/image6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5.png"/><Relationship Id="rId14" Type="http://schemas.openxmlformats.org/officeDocument/2006/relationships/slide" Target="slide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3" Type="http://schemas.openxmlformats.org/officeDocument/2006/relationships/notesSlide" Target="../notesSlides/notesSlide2.xml"/><Relationship Id="rId7" Type="http://schemas.openxmlformats.org/officeDocument/2006/relationships/slide" Target="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6" Type="http://schemas.openxmlformats.org/officeDocument/2006/relationships/slide" Target="slide3.xml"/><Relationship Id="rId5" Type="http://schemas.openxmlformats.org/officeDocument/2006/relationships/image" Target="../media/image1.emf"/><Relationship Id="rId10" Type="http://schemas.openxmlformats.org/officeDocument/2006/relationships/slide" Target="slide15.xml"/><Relationship Id="rId4" Type="http://schemas.openxmlformats.org/officeDocument/2006/relationships/oleObject" Target="../embeddings/oleObject1.bin"/><Relationship Id="rId9" Type="http://schemas.openxmlformats.org/officeDocument/2006/relationships/slide" Target="slide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10.xml"/><Relationship Id="rId3" Type="http://schemas.openxmlformats.org/officeDocument/2006/relationships/notesSlide" Target="../notesSlides/notesSlide3.xml"/><Relationship Id="rId7" Type="http://schemas.openxmlformats.org/officeDocument/2006/relationships/slide" Target="slide7.xml"/><Relationship Id="rId12" Type="http://schemas.openxmlformats.org/officeDocument/2006/relationships/chart" Target="../charts/chart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slide" Target="slide4.xml"/><Relationship Id="rId11" Type="http://schemas.openxmlformats.org/officeDocument/2006/relationships/chart" Target="../charts/chart1.xml"/><Relationship Id="rId5" Type="http://schemas.openxmlformats.org/officeDocument/2006/relationships/image" Target="../media/image1.emf"/><Relationship Id="rId10" Type="http://schemas.openxmlformats.org/officeDocument/2006/relationships/slide" Target="slide16.xml"/><Relationship Id="rId4" Type="http://schemas.openxmlformats.org/officeDocument/2006/relationships/oleObject" Target="../embeddings/oleObject1.bin"/><Relationship Id="rId9" Type="http://schemas.openxmlformats.org/officeDocument/2006/relationships/slide" Target="slide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13" Type="http://schemas.openxmlformats.org/officeDocument/2006/relationships/image" Target="../media/image4.png"/><Relationship Id="rId3" Type="http://schemas.openxmlformats.org/officeDocument/2006/relationships/notesSlide" Target="../notesSlides/notesSlide4.xml"/><Relationship Id="rId7" Type="http://schemas.openxmlformats.org/officeDocument/2006/relationships/slide" Target="slide8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7.png"/><Relationship Id="rId1" Type="http://schemas.openxmlformats.org/officeDocument/2006/relationships/tags" Target="../tags/tag4.xml"/><Relationship Id="rId6" Type="http://schemas.openxmlformats.org/officeDocument/2006/relationships/slide" Target="slide5.xml"/><Relationship Id="rId11" Type="http://schemas.openxmlformats.org/officeDocument/2006/relationships/image" Target="../media/image2.png"/><Relationship Id="rId5" Type="http://schemas.openxmlformats.org/officeDocument/2006/relationships/image" Target="../media/image1.emf"/><Relationship Id="rId15" Type="http://schemas.openxmlformats.org/officeDocument/2006/relationships/image" Target="../media/image6.png"/><Relationship Id="rId10" Type="http://schemas.openxmlformats.org/officeDocument/2006/relationships/slide" Target="slide17.xml"/><Relationship Id="rId4" Type="http://schemas.openxmlformats.org/officeDocument/2006/relationships/oleObject" Target="../embeddings/oleObject2.bin"/><Relationship Id="rId9" Type="http://schemas.openxmlformats.org/officeDocument/2006/relationships/slide" Target="slide14.xml"/><Relationship Id="rId1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3" Type="http://schemas.openxmlformats.org/officeDocument/2006/relationships/notesSlide" Target="../notesSlides/notesSlide5.xml"/><Relationship Id="rId7" Type="http://schemas.openxmlformats.org/officeDocument/2006/relationships/slide" Target="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slide" Target="slide3.xml"/><Relationship Id="rId5" Type="http://schemas.openxmlformats.org/officeDocument/2006/relationships/image" Target="../media/image1.emf"/><Relationship Id="rId10" Type="http://schemas.openxmlformats.org/officeDocument/2006/relationships/slide" Target="slide15.xml"/><Relationship Id="rId4" Type="http://schemas.openxmlformats.org/officeDocument/2006/relationships/oleObject" Target="../embeddings/oleObject1.bin"/><Relationship Id="rId9" Type="http://schemas.openxmlformats.org/officeDocument/2006/relationships/slide" Target="slide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4.xml"/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4.xml"/><Relationship Id="rId12" Type="http://schemas.openxmlformats.org/officeDocument/2006/relationships/slide" Target="slide1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chart" Target="../charts/chart3.xml"/><Relationship Id="rId11" Type="http://schemas.openxmlformats.org/officeDocument/2006/relationships/slide" Target="slide13.xml"/><Relationship Id="rId5" Type="http://schemas.openxmlformats.org/officeDocument/2006/relationships/image" Target="../media/image1.emf"/><Relationship Id="rId10" Type="http://schemas.openxmlformats.org/officeDocument/2006/relationships/slide" Target="slide10.xml"/><Relationship Id="rId4" Type="http://schemas.openxmlformats.org/officeDocument/2006/relationships/oleObject" Target="../embeddings/oleObject1.bin"/><Relationship Id="rId9" Type="http://schemas.openxmlformats.org/officeDocument/2006/relationships/slide" Target="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slide" Target="slide8.xml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.png"/><Relationship Id="rId12" Type="http://schemas.openxmlformats.org/officeDocument/2006/relationships/slide" Target="slide5.xml"/><Relationship Id="rId2" Type="http://schemas.openxmlformats.org/officeDocument/2006/relationships/slideLayout" Target="../slideLayouts/slideLayout8.xml"/><Relationship Id="rId16" Type="http://schemas.openxmlformats.org/officeDocument/2006/relationships/slide" Target="slide17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slide" Target="slide14.xml"/><Relationship Id="rId10" Type="http://schemas.openxmlformats.org/officeDocument/2006/relationships/image" Target="../media/image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Relationship Id="rId14" Type="http://schemas.openxmlformats.org/officeDocument/2006/relationships/slide" Target="slide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3" Type="http://schemas.openxmlformats.org/officeDocument/2006/relationships/notesSlide" Target="../notesSlides/notesSlide8.xml"/><Relationship Id="rId7" Type="http://schemas.openxmlformats.org/officeDocument/2006/relationships/slide" Target="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slide" Target="slide3.xml"/><Relationship Id="rId5" Type="http://schemas.openxmlformats.org/officeDocument/2006/relationships/image" Target="../media/image1.emf"/><Relationship Id="rId10" Type="http://schemas.openxmlformats.org/officeDocument/2006/relationships/slide" Target="slide15.xml"/><Relationship Id="rId4" Type="http://schemas.openxmlformats.org/officeDocument/2006/relationships/oleObject" Target="../embeddings/oleObject1.bin"/><Relationship Id="rId9" Type="http://schemas.openxmlformats.org/officeDocument/2006/relationships/slide" Target="slide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33534" y="2499519"/>
            <a:ext cx="6077265" cy="1911200"/>
          </a:xfrm>
        </p:spPr>
        <p:txBody>
          <a:bodyPr lIns="0"/>
          <a:lstStyle/>
          <a:p>
            <a:r>
              <a:rPr lang="en-US" sz="3600" dirty="0"/>
              <a:t>Digital Enrollment Partner Internal Executive Deck</a:t>
            </a:r>
          </a:p>
        </p:txBody>
      </p:sp>
      <p:sp>
        <p:nvSpPr>
          <p:cNvPr id="9" name="Reporting Month"/>
          <p:cNvSpPr>
            <a:spLocks noGrp="1"/>
          </p:cNvSpPr>
          <p:nvPr>
            <p:ph type="subTitle" idx="1"/>
          </p:nvPr>
        </p:nvSpPr>
        <p:spPr/>
        <p:txBody>
          <a:bodyPr lIns="0"/>
          <a:lstStyle/>
          <a:p>
            <a:pPr marL="0" indent="0"/>
            <a:r>
              <a:rPr lang="en-US" dirty="0">
                <a:solidFill>
                  <a:srgbClr val="636669"/>
                </a:solidFill>
              </a:rPr>
              <a:t>May 2021</a:t>
            </a:r>
          </a:p>
        </p:txBody>
      </p:sp>
    </p:spTree>
    <p:extLst>
      <p:ext uri="{BB962C8B-B14F-4D97-AF65-F5344CB8AC3E}">
        <p14:creationId xmlns:p14="http://schemas.microsoft.com/office/powerpoint/2010/main" val="262826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413220" y="211575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Comparison trend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11480" y="1128840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Month over Month 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946446" y="1128839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Year over Year</a:t>
            </a:r>
          </a:p>
        </p:txBody>
      </p:sp>
      <p:graphicFrame>
        <p:nvGraphicFramePr>
          <p:cNvPr id="34" name="MoM_reg"/>
          <p:cNvGraphicFramePr/>
          <p:nvPr>
            <p:extLst>
              <p:ext uri="{D42A27DB-BD31-4B8C-83A1-F6EECF244321}">
                <p14:modId xmlns:p14="http://schemas.microsoft.com/office/powerpoint/2010/main" val="181728115"/>
              </p:ext>
            </p:extLst>
          </p:nvPr>
        </p:nvGraphicFramePr>
        <p:xfrm>
          <a:off x="310680" y="1313506"/>
          <a:ext cx="5082587" cy="42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5" name="YoY_reg"/>
          <p:cNvGraphicFramePr/>
          <p:nvPr>
            <p:extLst>
              <p:ext uri="{D42A27DB-BD31-4B8C-83A1-F6EECF244321}">
                <p14:modId xmlns:p14="http://schemas.microsoft.com/office/powerpoint/2010/main" val="2036677636"/>
              </p:ext>
            </p:extLst>
          </p:nvPr>
        </p:nvGraphicFramePr>
        <p:xfrm>
          <a:off x="6740150" y="1313506"/>
          <a:ext cx="4846161" cy="42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36" name="Straight Connector 35"/>
          <p:cNvCxnSpPr/>
          <p:nvPr/>
        </p:nvCxnSpPr>
        <p:spPr>
          <a:xfrm>
            <a:off x="6096000" y="1208015"/>
            <a:ext cx="0" cy="3775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5095565" y="5547360"/>
            <a:ext cx="2000871" cy="184666"/>
            <a:chOff x="5042628" y="5547360"/>
            <a:chExt cx="2000871" cy="184666"/>
          </a:xfrm>
        </p:grpSpPr>
        <p:grpSp>
          <p:nvGrpSpPr>
            <p:cNvPr id="38" name="Group 37"/>
            <p:cNvGrpSpPr/>
            <p:nvPr/>
          </p:nvGrpSpPr>
          <p:grpSpPr>
            <a:xfrm>
              <a:off x="5042628" y="5547360"/>
              <a:ext cx="684904" cy="184666"/>
              <a:chOff x="4152550" y="5452827"/>
              <a:chExt cx="684904" cy="184666"/>
            </a:xfrm>
          </p:grpSpPr>
          <p:sp>
            <p:nvSpPr>
              <p:cNvPr id="42" name="Rectangle 41"/>
              <p:cNvSpPr/>
              <p:nvPr/>
            </p:nvSpPr>
            <p:spPr>
              <a:xfrm>
                <a:off x="4152550" y="5464644"/>
                <a:ext cx="161033" cy="161033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4420673" y="5452827"/>
                <a:ext cx="41678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Leads</a:t>
                </a: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6094099" y="5547360"/>
              <a:ext cx="949400" cy="184666"/>
              <a:chOff x="4152550" y="5452827"/>
              <a:chExt cx="949400" cy="184666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4152550" y="5464644"/>
                <a:ext cx="161033" cy="161033"/>
              </a:xfrm>
              <a:prstGeom prst="rect">
                <a:avLst/>
              </a:prstGeom>
              <a:solidFill>
                <a:srgbClr val="6366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4420673" y="5452827"/>
                <a:ext cx="68127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Approvals</a:t>
                </a:r>
              </a:p>
            </p:txBody>
          </p:sp>
        </p:grpSp>
      </p:grpSp>
      <p:sp>
        <p:nvSpPr>
          <p:cNvPr id="44" name="Freeform 43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45" name="Rectangle 44">
            <a:hlinkClick r:id="rId8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46" name="Rectangle 45">
            <a:hlinkClick r:id="rId9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47" name="Rectangle 46">
            <a:hlinkClick r:id="rId10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B</a:t>
            </a:r>
          </a:p>
        </p:txBody>
      </p:sp>
      <p:sp>
        <p:nvSpPr>
          <p:cNvPr id="48" name="Rectangle 47">
            <a:hlinkClick r:id="rId11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49" name="Rectangle 48">
            <a:hlinkClick r:id="rId12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C9D0847-D548-4A60-8FCE-0347E75B5749}"/>
              </a:ext>
            </a:extLst>
          </p:cNvPr>
          <p:cNvSpPr txBox="1"/>
          <p:nvPr/>
        </p:nvSpPr>
        <p:spPr>
          <a:xfrm>
            <a:off x="8285797" y="5506631"/>
            <a:ext cx="175605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 YoY% Change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DECDC4-3293-4C3F-9E9A-EEDDEB6DA30A}"/>
              </a:ext>
            </a:extLst>
          </p:cNvPr>
          <p:cNvSpPr txBox="1"/>
          <p:nvPr/>
        </p:nvSpPr>
        <p:spPr>
          <a:xfrm>
            <a:off x="8292425" y="5221711"/>
            <a:ext cx="149156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YoY% Change:</a:t>
            </a:r>
          </a:p>
        </p:txBody>
      </p:sp>
      <p:sp>
        <p:nvSpPr>
          <p:cNvPr id="26" name="Approvals YoY_reg">
            <a:extLst>
              <a:ext uri="{FF2B5EF4-FFF2-40B4-BE49-F238E27FC236}">
                <a16:creationId xmlns:a16="http://schemas.microsoft.com/office/drawing/2014/main" id="{EE3A1318-8A1D-4475-895A-1BC188550A49}"/>
              </a:ext>
            </a:extLst>
          </p:cNvPr>
          <p:cNvSpPr txBox="1"/>
          <p:nvPr/>
        </p:nvSpPr>
        <p:spPr>
          <a:xfrm>
            <a:off x="10041717" y="5516096"/>
            <a:ext cx="70857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- 4.1%</a:t>
            </a:r>
          </a:p>
        </p:txBody>
      </p:sp>
      <p:sp>
        <p:nvSpPr>
          <p:cNvPr id="27" name="Leads YoY_reg">
            <a:extLst>
              <a:ext uri="{FF2B5EF4-FFF2-40B4-BE49-F238E27FC236}">
                <a16:creationId xmlns:a16="http://schemas.microsoft.com/office/drawing/2014/main" id="{008CF750-11F2-4FEA-9042-236441A4F601}"/>
              </a:ext>
            </a:extLst>
          </p:cNvPr>
          <p:cNvSpPr txBox="1"/>
          <p:nvPr/>
        </p:nvSpPr>
        <p:spPr>
          <a:xfrm>
            <a:off x="10035093" y="5217924"/>
            <a:ext cx="70857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- 5.2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DEEEB2E-DF38-4CD9-A0A1-FE10FA529E1F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265609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89">
            <a:extLst>
              <a:ext uri="{FF2B5EF4-FFF2-40B4-BE49-F238E27FC236}">
                <a16:creationId xmlns:a16="http://schemas.microsoft.com/office/drawing/2014/main" id="{F2C44A8F-5F5B-4832-83C0-9AB95E1E695F}"/>
              </a:ext>
            </a:extLst>
          </p:cNvPr>
          <p:cNvSpPr/>
          <p:nvPr/>
        </p:nvSpPr>
        <p:spPr>
          <a:xfrm rot="5400000">
            <a:off x="8051335" y="2431051"/>
            <a:ext cx="5440077" cy="2368800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product_heading_reg"/>
          <p:cNvSpPr txBox="1"/>
          <p:nvPr/>
        </p:nvSpPr>
        <p:spPr>
          <a:xfrm>
            <a:off x="413220" y="211574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Distribution</a:t>
            </a:r>
          </a:p>
        </p:txBody>
      </p:sp>
      <p:cxnSp>
        <p:nvCxnSpPr>
          <p:cNvPr id="61" name="Straight Connector 60"/>
          <p:cNvCxnSpPr/>
          <p:nvPr/>
        </p:nvCxnSpPr>
        <p:spPr>
          <a:xfrm>
            <a:off x="9756313" y="1251855"/>
            <a:ext cx="0" cy="4729845"/>
          </a:xfrm>
          <a:prstGeom prst="line">
            <a:avLst/>
          </a:prstGeom>
          <a:ln>
            <a:solidFill>
              <a:srgbClr val="6366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Freeform 6"/>
          <p:cNvSpPr>
            <a:spLocks/>
          </p:cNvSpPr>
          <p:nvPr/>
        </p:nvSpPr>
        <p:spPr bwMode="auto">
          <a:xfrm>
            <a:off x="6203508" y="6522854"/>
            <a:ext cx="54418" cy="115366"/>
          </a:xfrm>
          <a:custGeom>
            <a:avLst/>
            <a:gdLst>
              <a:gd name="T0" fmla="*/ 0 w 25"/>
              <a:gd name="T1" fmla="*/ 0 h 53"/>
              <a:gd name="T2" fmla="*/ 25 w 25"/>
              <a:gd name="T3" fmla="*/ 27 h 53"/>
              <a:gd name="T4" fmla="*/ 0 w 25"/>
              <a:gd name="T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53">
                <a:moveTo>
                  <a:pt x="0" y="0"/>
                </a:moveTo>
                <a:lnTo>
                  <a:pt x="25" y="27"/>
                </a:lnTo>
                <a:lnTo>
                  <a:pt x="0" y="53"/>
                </a:lnTo>
              </a:path>
            </a:pathLst>
          </a:custGeom>
          <a:noFill/>
          <a:ln w="19050" cap="rnd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" name="Freeform 8"/>
          <p:cNvSpPr>
            <a:spLocks/>
          </p:cNvSpPr>
          <p:nvPr/>
        </p:nvSpPr>
        <p:spPr bwMode="auto">
          <a:xfrm>
            <a:off x="5934075" y="6522854"/>
            <a:ext cx="54418" cy="115366"/>
          </a:xfrm>
          <a:custGeom>
            <a:avLst/>
            <a:gdLst>
              <a:gd name="T0" fmla="*/ 25 w 25"/>
              <a:gd name="T1" fmla="*/ 0 h 53"/>
              <a:gd name="T2" fmla="*/ 0 w 25"/>
              <a:gd name="T3" fmla="*/ 27 h 53"/>
              <a:gd name="T4" fmla="*/ 25 w 25"/>
              <a:gd name="T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53">
                <a:moveTo>
                  <a:pt x="25" y="0"/>
                </a:moveTo>
                <a:lnTo>
                  <a:pt x="0" y="27"/>
                </a:lnTo>
                <a:lnTo>
                  <a:pt x="25" y="53"/>
                </a:lnTo>
              </a:path>
            </a:pathLst>
          </a:custGeom>
          <a:noFill/>
          <a:ln w="19050" cap="rnd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" name="Rectangle 72">
            <a:hlinkClick r:id="" action="ppaction://hlinkshowjump?jump=previousslide"/>
          </p:cNvPr>
          <p:cNvSpPr/>
          <p:nvPr/>
        </p:nvSpPr>
        <p:spPr>
          <a:xfrm>
            <a:off x="5878291" y="6489924"/>
            <a:ext cx="181226" cy="18122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>
            <a:hlinkClick r:id="" action="ppaction://hlinkshowjump?jump=nextslide"/>
          </p:cNvPr>
          <p:cNvSpPr/>
          <p:nvPr/>
        </p:nvSpPr>
        <p:spPr>
          <a:xfrm>
            <a:off x="6140104" y="6489924"/>
            <a:ext cx="181226" cy="18122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0DEDCD67-4413-4735-8AD6-27AFDBC5B781}"/>
              </a:ext>
            </a:extLst>
          </p:cNvPr>
          <p:cNvSpPr txBox="1"/>
          <p:nvPr/>
        </p:nvSpPr>
        <p:spPr>
          <a:xfrm>
            <a:off x="9901697" y="1251855"/>
            <a:ext cx="187151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800"/>
              </a:spcBef>
            </a:pPr>
            <a:r>
              <a:rPr lang="en-US" sz="1400" b="1" dirty="0">
                <a:solidFill>
                  <a:schemeClr val="bg1"/>
                </a:solidFill>
              </a:rPr>
              <a:t>Insight</a:t>
            </a:r>
          </a:p>
        </p:txBody>
      </p:sp>
      <p:sp>
        <p:nvSpPr>
          <p:cNvPr id="98" name="product_insight_reg">
            <a:extLst>
              <a:ext uri="{FF2B5EF4-FFF2-40B4-BE49-F238E27FC236}">
                <a16:creationId xmlns:a16="http://schemas.microsoft.com/office/drawing/2014/main" id="{3CDF94AC-E0D0-4A61-9CAC-1FE5E280A3DD}"/>
              </a:ext>
            </a:extLst>
          </p:cNvPr>
          <p:cNvSpPr/>
          <p:nvPr/>
        </p:nvSpPr>
        <p:spPr>
          <a:xfrm>
            <a:off x="9901697" y="1571802"/>
            <a:ext cx="1770487" cy="20313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Prod C has a Purchase share of 17.3% and it is ranked 2 among all products. With Add to Cart share of 15.6% and a rank of 5, Prod C has highest Product Purchase Rate of 109.8%. Focus on maintaining Product Purchase Rate for Prod C.</a:t>
            </a:r>
          </a:p>
        </p:txBody>
      </p:sp>
      <p:sp>
        <p:nvSpPr>
          <p:cNvPr id="147" name="Approvals Note">
            <a:extLst>
              <a:ext uri="{FF2B5EF4-FFF2-40B4-BE49-F238E27FC236}">
                <a16:creationId xmlns:a16="http://schemas.microsoft.com/office/drawing/2014/main" id="{11713F13-0402-480A-8AF6-AF5592EE352A}"/>
              </a:ext>
            </a:extLst>
          </p:cNvPr>
          <p:cNvSpPr txBox="1"/>
          <p:nvPr/>
        </p:nvSpPr>
        <p:spPr>
          <a:xfrm>
            <a:off x="411480" y="6144360"/>
            <a:ext cx="59249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rovals and purchases are not a direct 1:1 correlation, as one merchant could purchase multiple devices</a:t>
            </a:r>
          </a:p>
        </p:txBody>
      </p:sp>
      <p:pic>
        <p:nvPicPr>
          <p:cNvPr id="148" name="Picture 81" descr="Image result for firstdata statio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325" y="1791327"/>
            <a:ext cx="652136" cy="35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Rectangle 14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1871105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A</a:t>
            </a:r>
          </a:p>
        </p:txBody>
      </p:sp>
      <p:pic>
        <p:nvPicPr>
          <p:cNvPr id="154" name="Picture 79" descr="Related image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7" t="14007" r="16013" b="7100"/>
          <a:stretch/>
        </p:blipFill>
        <p:spPr bwMode="auto">
          <a:xfrm>
            <a:off x="647324" y="2542025"/>
            <a:ext cx="812138" cy="399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Rectangle 15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2616160"/>
            <a:ext cx="46968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B</a:t>
            </a:r>
          </a:p>
        </p:txBody>
      </p:sp>
      <p:pic>
        <p:nvPicPr>
          <p:cNvPr id="156" name="Picture 77" descr="Image result for firstdata flex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55" r="27523" b="10288"/>
          <a:stretch/>
        </p:blipFill>
        <p:spPr bwMode="auto">
          <a:xfrm rot="20670894">
            <a:off x="854350" y="3257237"/>
            <a:ext cx="398086" cy="45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3361215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C</a:t>
            </a:r>
          </a:p>
        </p:txBody>
      </p:sp>
      <p:pic>
        <p:nvPicPr>
          <p:cNvPr id="158" name="Picture 75" descr="Related image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82" r="18313" b="8735"/>
          <a:stretch/>
        </p:blipFill>
        <p:spPr bwMode="auto">
          <a:xfrm>
            <a:off x="810577" y="3987067"/>
            <a:ext cx="485632" cy="407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5" name="Rectangle 16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4106270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D</a:t>
            </a:r>
          </a:p>
        </p:txBody>
      </p:sp>
      <p:pic>
        <p:nvPicPr>
          <p:cNvPr id="166" name="Picture 16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1" t="-4997" r="18473" b="-2"/>
          <a:stretch/>
        </p:blipFill>
        <p:spPr>
          <a:xfrm>
            <a:off x="655827" y="4671392"/>
            <a:ext cx="795131" cy="587998"/>
          </a:xfrm>
          <a:prstGeom prst="rect">
            <a:avLst/>
          </a:prstGeom>
        </p:spPr>
      </p:pic>
      <p:sp>
        <p:nvSpPr>
          <p:cNvPr id="167" name="Rectangle 16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4851325"/>
            <a:ext cx="496033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A 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5511743"/>
            <a:ext cx="46968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E</a:t>
            </a:r>
          </a:p>
        </p:txBody>
      </p:sp>
      <p:pic>
        <p:nvPicPr>
          <p:cNvPr id="169" name="Picture 16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37" y="5472576"/>
            <a:ext cx="665512" cy="458598"/>
          </a:xfrm>
          <a:prstGeom prst="rect">
            <a:avLst/>
          </a:prstGeom>
        </p:spPr>
      </p:pic>
      <p:sp>
        <p:nvSpPr>
          <p:cNvPr id="171" name="TextBox 170"/>
          <p:cNvSpPr txBox="1"/>
          <p:nvPr/>
        </p:nvSpPr>
        <p:spPr>
          <a:xfrm>
            <a:off x="5254966" y="1333890"/>
            <a:ext cx="98318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o cart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3178238" y="1333890"/>
            <a:ext cx="86902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ews</a:t>
            </a:r>
          </a:p>
        </p:txBody>
      </p:sp>
      <p:sp>
        <p:nvSpPr>
          <p:cNvPr id="355" name="Freeform 12"/>
          <p:cNvSpPr>
            <a:spLocks/>
          </p:cNvSpPr>
          <p:nvPr/>
        </p:nvSpPr>
        <p:spPr bwMode="auto">
          <a:xfrm>
            <a:off x="5587727" y="1038172"/>
            <a:ext cx="307978" cy="171450"/>
          </a:xfrm>
          <a:custGeom>
            <a:avLst/>
            <a:gdLst>
              <a:gd name="T0" fmla="*/ 0 w 79"/>
              <a:gd name="T1" fmla="*/ 0 h 44"/>
              <a:gd name="T2" fmla="*/ 74 w 79"/>
              <a:gd name="T3" fmla="*/ 0 h 44"/>
              <a:gd name="T4" fmla="*/ 78 w 79"/>
              <a:gd name="T5" fmla="*/ 2 h 44"/>
              <a:gd name="T6" fmla="*/ 78 w 79"/>
              <a:gd name="T7" fmla="*/ 5 h 44"/>
              <a:gd name="T8" fmla="*/ 70 w 79"/>
              <a:gd name="T9" fmla="*/ 35 h 44"/>
              <a:gd name="T10" fmla="*/ 58 w 79"/>
              <a:gd name="T11" fmla="*/ 44 h 44"/>
              <a:gd name="T12" fmla="*/ 9 w 79"/>
              <a:gd name="T13" fmla="*/ 4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9" h="44">
                <a:moveTo>
                  <a:pt x="0" y="0"/>
                </a:move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7" y="1"/>
                  <a:pt x="78" y="2"/>
                </a:cubicBezTo>
                <a:cubicBezTo>
                  <a:pt x="78" y="3"/>
                  <a:pt x="79" y="4"/>
                  <a:pt x="78" y="5"/>
                </a:cubicBezTo>
                <a:cubicBezTo>
                  <a:pt x="70" y="35"/>
                  <a:pt x="70" y="35"/>
                  <a:pt x="70" y="35"/>
                </a:cubicBezTo>
                <a:cubicBezTo>
                  <a:pt x="69" y="40"/>
                  <a:pt x="64" y="44"/>
                  <a:pt x="58" y="44"/>
                </a:cubicBezTo>
                <a:cubicBezTo>
                  <a:pt x="9" y="44"/>
                  <a:pt x="9" y="44"/>
                  <a:pt x="9" y="44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6" name="Freeform 13"/>
          <p:cNvSpPr>
            <a:spLocks/>
          </p:cNvSpPr>
          <p:nvPr/>
        </p:nvSpPr>
        <p:spPr bwMode="auto">
          <a:xfrm>
            <a:off x="5540102" y="958797"/>
            <a:ext cx="296865" cy="296863"/>
          </a:xfrm>
          <a:custGeom>
            <a:avLst/>
            <a:gdLst>
              <a:gd name="T0" fmla="*/ 0 w 76"/>
              <a:gd name="T1" fmla="*/ 0 h 76"/>
              <a:gd name="T2" fmla="*/ 1 w 76"/>
              <a:gd name="T3" fmla="*/ 0 h 76"/>
              <a:gd name="T4" fmla="*/ 9 w 76"/>
              <a:gd name="T5" fmla="*/ 6 h 76"/>
              <a:gd name="T6" fmla="*/ 22 w 76"/>
              <a:gd name="T7" fmla="*/ 70 h 76"/>
              <a:gd name="T8" fmla="*/ 30 w 76"/>
              <a:gd name="T9" fmla="*/ 76 h 76"/>
              <a:gd name="T10" fmla="*/ 76 w 76"/>
              <a:gd name="T11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6" h="76">
                <a:moveTo>
                  <a:pt x="0" y="0"/>
                </a:moveTo>
                <a:cubicBezTo>
                  <a:pt x="1" y="0"/>
                  <a:pt x="1" y="0"/>
                  <a:pt x="1" y="0"/>
                </a:cubicBezTo>
                <a:cubicBezTo>
                  <a:pt x="5" y="0"/>
                  <a:pt x="8" y="3"/>
                  <a:pt x="9" y="6"/>
                </a:cubicBezTo>
                <a:cubicBezTo>
                  <a:pt x="22" y="70"/>
                  <a:pt x="22" y="70"/>
                  <a:pt x="22" y="70"/>
                </a:cubicBezTo>
                <a:cubicBezTo>
                  <a:pt x="23" y="73"/>
                  <a:pt x="26" y="76"/>
                  <a:pt x="30" y="76"/>
                </a:cubicBezTo>
                <a:cubicBezTo>
                  <a:pt x="76" y="76"/>
                  <a:pt x="76" y="76"/>
                  <a:pt x="76" y="76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7" name="Oval 14"/>
          <p:cNvSpPr>
            <a:spLocks noChangeArrowheads="1"/>
          </p:cNvSpPr>
          <p:nvPr/>
        </p:nvSpPr>
        <p:spPr bwMode="auto">
          <a:xfrm>
            <a:off x="5625828" y="1271535"/>
            <a:ext cx="47625" cy="47625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8" name="Oval 15"/>
          <p:cNvSpPr>
            <a:spLocks noChangeArrowheads="1"/>
          </p:cNvSpPr>
          <p:nvPr/>
        </p:nvSpPr>
        <p:spPr bwMode="auto">
          <a:xfrm>
            <a:off x="5782992" y="1271535"/>
            <a:ext cx="46038" cy="47625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2" name="Freeform 351"/>
          <p:cNvSpPr>
            <a:spLocks/>
          </p:cNvSpPr>
          <p:nvPr/>
        </p:nvSpPr>
        <p:spPr bwMode="auto">
          <a:xfrm>
            <a:off x="7714076" y="1068335"/>
            <a:ext cx="352425" cy="250825"/>
          </a:xfrm>
          <a:custGeom>
            <a:avLst/>
            <a:gdLst>
              <a:gd name="T0" fmla="*/ 77 w 90"/>
              <a:gd name="T1" fmla="*/ 64 h 64"/>
              <a:gd name="T2" fmla="*/ 13 w 90"/>
              <a:gd name="T3" fmla="*/ 64 h 64"/>
              <a:gd name="T4" fmla="*/ 4 w 90"/>
              <a:gd name="T5" fmla="*/ 60 h 64"/>
              <a:gd name="T6" fmla="*/ 1 w 90"/>
              <a:gd name="T7" fmla="*/ 51 h 64"/>
              <a:gd name="T8" fmla="*/ 7 w 90"/>
              <a:gd name="T9" fmla="*/ 0 h 64"/>
              <a:gd name="T10" fmla="*/ 83 w 90"/>
              <a:gd name="T11" fmla="*/ 0 h 64"/>
              <a:gd name="T12" fmla="*/ 89 w 90"/>
              <a:gd name="T13" fmla="*/ 51 h 64"/>
              <a:gd name="T14" fmla="*/ 86 w 90"/>
              <a:gd name="T15" fmla="*/ 60 h 64"/>
              <a:gd name="T16" fmla="*/ 77 w 90"/>
              <a:gd name="T17" fmla="*/ 6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0" h="64">
                <a:moveTo>
                  <a:pt x="77" y="64"/>
                </a:moveTo>
                <a:cubicBezTo>
                  <a:pt x="13" y="64"/>
                  <a:pt x="13" y="64"/>
                  <a:pt x="13" y="64"/>
                </a:cubicBezTo>
                <a:cubicBezTo>
                  <a:pt x="9" y="64"/>
                  <a:pt x="6" y="63"/>
                  <a:pt x="4" y="60"/>
                </a:cubicBezTo>
                <a:cubicBezTo>
                  <a:pt x="1" y="57"/>
                  <a:pt x="0" y="54"/>
                  <a:pt x="1" y="51"/>
                </a:cubicBezTo>
                <a:cubicBezTo>
                  <a:pt x="7" y="0"/>
                  <a:pt x="7" y="0"/>
                  <a:pt x="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9" y="51"/>
                  <a:pt x="89" y="51"/>
                  <a:pt x="89" y="51"/>
                </a:cubicBezTo>
                <a:cubicBezTo>
                  <a:pt x="90" y="54"/>
                  <a:pt x="89" y="57"/>
                  <a:pt x="86" y="60"/>
                </a:cubicBezTo>
                <a:cubicBezTo>
                  <a:pt x="84" y="63"/>
                  <a:pt x="81" y="64"/>
                  <a:pt x="77" y="64"/>
                </a:cubicBezTo>
                <a:close/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3" name="Freeform 352"/>
          <p:cNvSpPr>
            <a:spLocks/>
          </p:cNvSpPr>
          <p:nvPr/>
        </p:nvSpPr>
        <p:spPr bwMode="auto">
          <a:xfrm>
            <a:off x="7741064" y="1030235"/>
            <a:ext cx="298450" cy="38100"/>
          </a:xfrm>
          <a:custGeom>
            <a:avLst/>
            <a:gdLst>
              <a:gd name="T0" fmla="*/ 14 w 76"/>
              <a:gd name="T1" fmla="*/ 0 h 10"/>
              <a:gd name="T2" fmla="*/ 8 w 76"/>
              <a:gd name="T3" fmla="*/ 0 h 10"/>
              <a:gd name="T4" fmla="*/ 5 w 76"/>
              <a:gd name="T5" fmla="*/ 2 h 10"/>
              <a:gd name="T6" fmla="*/ 0 w 76"/>
              <a:gd name="T7" fmla="*/ 10 h 10"/>
              <a:gd name="T8" fmla="*/ 76 w 76"/>
              <a:gd name="T9" fmla="*/ 10 h 10"/>
              <a:gd name="T10" fmla="*/ 71 w 76"/>
              <a:gd name="T11" fmla="*/ 2 h 10"/>
              <a:gd name="T12" fmla="*/ 68 w 76"/>
              <a:gd name="T13" fmla="*/ 0 h 10"/>
              <a:gd name="T14" fmla="*/ 62 w 76"/>
              <a:gd name="T15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" h="10">
                <a:moveTo>
                  <a:pt x="14" y="0"/>
                </a:moveTo>
                <a:cubicBezTo>
                  <a:pt x="8" y="0"/>
                  <a:pt x="8" y="0"/>
                  <a:pt x="8" y="0"/>
                </a:cubicBezTo>
                <a:cubicBezTo>
                  <a:pt x="7" y="0"/>
                  <a:pt x="6" y="1"/>
                  <a:pt x="5" y="2"/>
                </a:cubicBezTo>
                <a:cubicBezTo>
                  <a:pt x="0" y="10"/>
                  <a:pt x="0" y="10"/>
                  <a:pt x="0" y="10"/>
                </a:cubicBezTo>
                <a:cubicBezTo>
                  <a:pt x="76" y="10"/>
                  <a:pt x="76" y="10"/>
                  <a:pt x="76" y="10"/>
                </a:cubicBezTo>
                <a:cubicBezTo>
                  <a:pt x="71" y="2"/>
                  <a:pt x="71" y="2"/>
                  <a:pt x="71" y="2"/>
                </a:cubicBezTo>
                <a:cubicBezTo>
                  <a:pt x="70" y="1"/>
                  <a:pt x="69" y="0"/>
                  <a:pt x="68" y="0"/>
                </a:cubicBezTo>
                <a:cubicBezTo>
                  <a:pt x="62" y="0"/>
                  <a:pt x="62" y="0"/>
                  <a:pt x="62" y="0"/>
                </a:cubicBezTo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4" name="Freeform 353"/>
          <p:cNvSpPr>
            <a:spLocks/>
          </p:cNvSpPr>
          <p:nvPr/>
        </p:nvSpPr>
        <p:spPr bwMode="auto">
          <a:xfrm>
            <a:off x="7828376" y="958797"/>
            <a:ext cx="123825" cy="109538"/>
          </a:xfrm>
          <a:custGeom>
            <a:avLst/>
            <a:gdLst>
              <a:gd name="T0" fmla="*/ 32 w 32"/>
              <a:gd name="T1" fmla="*/ 16 h 28"/>
              <a:gd name="T2" fmla="*/ 16 w 32"/>
              <a:gd name="T3" fmla="*/ 0 h 28"/>
              <a:gd name="T4" fmla="*/ 0 w 32"/>
              <a:gd name="T5" fmla="*/ 16 h 28"/>
              <a:gd name="T6" fmla="*/ 0 w 32"/>
              <a:gd name="T7" fmla="*/ 28 h 28"/>
              <a:gd name="T8" fmla="*/ 32 w 32"/>
              <a:gd name="T9" fmla="*/ 28 h 28"/>
              <a:gd name="T10" fmla="*/ 32 w 32"/>
              <a:gd name="T11" fmla="*/ 1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" h="28">
                <a:moveTo>
                  <a:pt x="32" y="16"/>
                </a:moveTo>
                <a:cubicBezTo>
                  <a:pt x="32" y="7"/>
                  <a:pt x="25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28"/>
                  <a:pt x="0" y="28"/>
                  <a:pt x="0" y="28"/>
                </a:cubicBezTo>
                <a:cubicBezTo>
                  <a:pt x="32" y="28"/>
                  <a:pt x="32" y="28"/>
                  <a:pt x="32" y="28"/>
                </a:cubicBezTo>
                <a:lnTo>
                  <a:pt x="32" y="16"/>
                </a:lnTo>
                <a:close/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5" name="Freeform 260">
            <a:extLst>
              <a:ext uri="{FF2B5EF4-FFF2-40B4-BE49-F238E27FC236}">
                <a16:creationId xmlns:a16="http://schemas.microsoft.com/office/drawing/2014/main" id="{BE7CBB2B-BA7E-4B43-AE24-6AE8498D2475}"/>
              </a:ext>
            </a:extLst>
          </p:cNvPr>
          <p:cNvSpPr>
            <a:spLocks/>
          </p:cNvSpPr>
          <p:nvPr/>
        </p:nvSpPr>
        <p:spPr bwMode="auto">
          <a:xfrm>
            <a:off x="3458035" y="990547"/>
            <a:ext cx="38100" cy="39687"/>
          </a:xfrm>
          <a:custGeom>
            <a:avLst/>
            <a:gdLst>
              <a:gd name="T0" fmla="*/ 0 w 12"/>
              <a:gd name="T1" fmla="*/ 12 h 12"/>
              <a:gd name="T2" fmla="*/ 0 w 12"/>
              <a:gd name="T3" fmla="*/ 4 h 12"/>
              <a:gd name="T4" fmla="*/ 4 w 12"/>
              <a:gd name="T5" fmla="*/ 0 h 12"/>
              <a:gd name="T6" fmla="*/ 12 w 12"/>
              <a:gd name="T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0" y="12"/>
                </a:move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2" y="0"/>
                  <a:pt x="12" y="0"/>
                  <a:pt x="12" y="0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Freeform 261">
            <a:extLst>
              <a:ext uri="{FF2B5EF4-FFF2-40B4-BE49-F238E27FC236}">
                <a16:creationId xmlns:a16="http://schemas.microsoft.com/office/drawing/2014/main" id="{E8CDB7AD-4195-48B7-962A-4D2314A1FA89}"/>
              </a:ext>
            </a:extLst>
          </p:cNvPr>
          <p:cNvSpPr>
            <a:spLocks/>
          </p:cNvSpPr>
          <p:nvPr/>
        </p:nvSpPr>
        <p:spPr bwMode="auto">
          <a:xfrm>
            <a:off x="3716798" y="990547"/>
            <a:ext cx="39688" cy="39687"/>
          </a:xfrm>
          <a:custGeom>
            <a:avLst/>
            <a:gdLst>
              <a:gd name="T0" fmla="*/ 12 w 12"/>
              <a:gd name="T1" fmla="*/ 12 h 12"/>
              <a:gd name="T2" fmla="*/ 12 w 12"/>
              <a:gd name="T3" fmla="*/ 4 h 12"/>
              <a:gd name="T4" fmla="*/ 8 w 12"/>
              <a:gd name="T5" fmla="*/ 0 h 12"/>
              <a:gd name="T6" fmla="*/ 0 w 12"/>
              <a:gd name="T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12" y="12"/>
                </a:moveTo>
                <a:cubicBezTo>
                  <a:pt x="12" y="4"/>
                  <a:pt x="12" y="4"/>
                  <a:pt x="12" y="4"/>
                </a:cubicBezTo>
                <a:cubicBezTo>
                  <a:pt x="12" y="2"/>
                  <a:pt x="10" y="0"/>
                  <a:pt x="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Freeform 262">
            <a:extLst>
              <a:ext uri="{FF2B5EF4-FFF2-40B4-BE49-F238E27FC236}">
                <a16:creationId xmlns:a16="http://schemas.microsoft.com/office/drawing/2014/main" id="{6894E76D-10F8-4615-8EA0-826DB1913F97}"/>
              </a:ext>
            </a:extLst>
          </p:cNvPr>
          <p:cNvSpPr>
            <a:spLocks/>
          </p:cNvSpPr>
          <p:nvPr/>
        </p:nvSpPr>
        <p:spPr bwMode="auto">
          <a:xfrm>
            <a:off x="3458035" y="1249309"/>
            <a:ext cx="38100" cy="38100"/>
          </a:xfrm>
          <a:custGeom>
            <a:avLst/>
            <a:gdLst>
              <a:gd name="T0" fmla="*/ 0 w 12"/>
              <a:gd name="T1" fmla="*/ 0 h 12"/>
              <a:gd name="T2" fmla="*/ 0 w 12"/>
              <a:gd name="T3" fmla="*/ 8 h 12"/>
              <a:gd name="T4" fmla="*/ 4 w 12"/>
              <a:gd name="T5" fmla="*/ 12 h 12"/>
              <a:gd name="T6" fmla="*/ 12 w 1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0" y="0"/>
                </a:moveTo>
                <a:cubicBezTo>
                  <a:pt x="0" y="8"/>
                  <a:pt x="0" y="8"/>
                  <a:pt x="0" y="8"/>
                </a:cubicBezTo>
                <a:cubicBezTo>
                  <a:pt x="0" y="10"/>
                  <a:pt x="2" y="12"/>
                  <a:pt x="4" y="12"/>
                </a:cubicBezTo>
                <a:cubicBezTo>
                  <a:pt x="12" y="12"/>
                  <a:pt x="12" y="12"/>
                  <a:pt x="12" y="12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Freeform 263">
            <a:extLst>
              <a:ext uri="{FF2B5EF4-FFF2-40B4-BE49-F238E27FC236}">
                <a16:creationId xmlns:a16="http://schemas.microsoft.com/office/drawing/2014/main" id="{B210F6D3-422D-404D-8B51-D1B5F74BB7A4}"/>
              </a:ext>
            </a:extLst>
          </p:cNvPr>
          <p:cNvSpPr>
            <a:spLocks/>
          </p:cNvSpPr>
          <p:nvPr/>
        </p:nvSpPr>
        <p:spPr bwMode="auto">
          <a:xfrm>
            <a:off x="3716798" y="1249309"/>
            <a:ext cx="39688" cy="38100"/>
          </a:xfrm>
          <a:custGeom>
            <a:avLst/>
            <a:gdLst>
              <a:gd name="T0" fmla="*/ 12 w 12"/>
              <a:gd name="T1" fmla="*/ 0 h 12"/>
              <a:gd name="T2" fmla="*/ 12 w 12"/>
              <a:gd name="T3" fmla="*/ 8 h 12"/>
              <a:gd name="T4" fmla="*/ 8 w 12"/>
              <a:gd name="T5" fmla="*/ 12 h 12"/>
              <a:gd name="T6" fmla="*/ 0 w 1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12" y="0"/>
                </a:moveTo>
                <a:cubicBezTo>
                  <a:pt x="12" y="8"/>
                  <a:pt x="12" y="8"/>
                  <a:pt x="12" y="8"/>
                </a:cubicBezTo>
                <a:cubicBezTo>
                  <a:pt x="12" y="10"/>
                  <a:pt x="10" y="12"/>
                  <a:pt x="8" y="12"/>
                </a:cubicBezTo>
                <a:cubicBezTo>
                  <a:pt x="0" y="12"/>
                  <a:pt x="0" y="12"/>
                  <a:pt x="0" y="12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" name="Oval 264">
            <a:extLst>
              <a:ext uri="{FF2B5EF4-FFF2-40B4-BE49-F238E27FC236}">
                <a16:creationId xmlns:a16="http://schemas.microsoft.com/office/drawing/2014/main" id="{C1441970-5706-442E-AA32-7157D55C8D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1223" y="1093734"/>
            <a:ext cx="90488" cy="90487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Oval 265">
            <a:extLst>
              <a:ext uri="{FF2B5EF4-FFF2-40B4-BE49-F238E27FC236}">
                <a16:creationId xmlns:a16="http://schemas.microsoft.com/office/drawing/2014/main" id="{FC8CAA09-614B-4A1D-95A0-F2482C7477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4085" y="1136597"/>
            <a:ext cx="6350" cy="6350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Oval 266">
            <a:extLst>
              <a:ext uri="{FF2B5EF4-FFF2-40B4-BE49-F238E27FC236}">
                <a16:creationId xmlns:a16="http://schemas.microsoft.com/office/drawing/2014/main" id="{AD77BBAE-E74E-45FF-8636-B89D459134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0260" y="1061984"/>
            <a:ext cx="254000" cy="153987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TextBox 175"/>
          <p:cNvSpPr txBox="1"/>
          <p:nvPr/>
        </p:nvSpPr>
        <p:spPr>
          <a:xfrm>
            <a:off x="7077452" y="1363674"/>
            <a:ext cx="178855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urchase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165840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43" name="txt_station_views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8%</a:t>
            </a:r>
          </a:p>
        </p:txBody>
      </p:sp>
      <p:sp>
        <p:nvSpPr>
          <p:cNvPr id="344" name="txt_station_views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42797" y="1962394"/>
            <a:ext cx="7439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1,006)</a:t>
            </a: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165840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40" name="txt_add_to_cart_station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0%</a:t>
            </a:r>
          </a:p>
        </p:txBody>
      </p:sp>
      <p:sp>
        <p:nvSpPr>
          <p:cNvPr id="341" name="txt_add_to_cart_station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196239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9,221)</a:t>
            </a: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165840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7" name="txt_device_station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1%</a:t>
            </a:r>
          </a:p>
        </p:txBody>
      </p:sp>
      <p:sp>
        <p:nvSpPr>
          <p:cNvPr id="338" name="txt_device_station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196239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9,821)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2403458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1" name="txt_mini_views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5%</a:t>
            </a:r>
          </a:p>
        </p:txBody>
      </p:sp>
      <p:sp>
        <p:nvSpPr>
          <p:cNvPr id="332" name="txt_mini_views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270744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0,176)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2403458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28" name="txt_add_to_cart_mini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9.2%</a:t>
            </a:r>
          </a:p>
        </p:txBody>
      </p:sp>
      <p:sp>
        <p:nvSpPr>
          <p:cNvPr id="329" name="txt_add_to_cart_mini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42863" y="2707449"/>
            <a:ext cx="7439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1,837)</a:t>
            </a: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2403458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25" name="txt_device_mini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7%</a:t>
            </a:r>
          </a:p>
        </p:txBody>
      </p:sp>
      <p:sp>
        <p:nvSpPr>
          <p:cNvPr id="326" name="txt_device_mini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270744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0,189)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314851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9" name="txt_flex_views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0%</a:t>
            </a:r>
          </a:p>
        </p:txBody>
      </p:sp>
      <p:sp>
        <p:nvSpPr>
          <p:cNvPr id="320" name="txt_flex_views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345250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9,866)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314851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16" name="txt_add_to_cart_flex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6%</a:t>
            </a:r>
          </a:p>
        </p:txBody>
      </p:sp>
      <p:sp>
        <p:nvSpPr>
          <p:cNvPr id="317" name="txt_add_to_cart_flex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345250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9,595)</a:t>
            </a: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314851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3" name="txt_device_flex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3%</a:t>
            </a:r>
          </a:p>
        </p:txBody>
      </p:sp>
      <p:sp>
        <p:nvSpPr>
          <p:cNvPr id="314" name="txt_device_flex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345250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0,535)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3893568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7" name="txt_go_views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9%</a:t>
            </a:r>
          </a:p>
        </p:txBody>
      </p:sp>
      <p:sp>
        <p:nvSpPr>
          <p:cNvPr id="308" name="txt_go_views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42797" y="4197559"/>
            <a:ext cx="7439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1,052)</a:t>
            </a: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3893568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04" name="txt_add_to_cart_go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5%</a:t>
            </a:r>
          </a:p>
        </p:txBody>
      </p:sp>
      <p:sp>
        <p:nvSpPr>
          <p:cNvPr id="305" name="txt_add_to_cart_go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419755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0,127)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3893568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1" name="txt_device_clover_go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8.2%</a:t>
            </a:r>
          </a:p>
        </p:txBody>
      </p:sp>
      <p:sp>
        <p:nvSpPr>
          <p:cNvPr id="302" name="txt_device_clover_go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01390" y="4197559"/>
            <a:ext cx="7439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1,103)</a:t>
            </a: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463862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5" name="txt_station_pro_views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0%</a:t>
            </a:r>
          </a:p>
        </p:txBody>
      </p:sp>
      <p:sp>
        <p:nvSpPr>
          <p:cNvPr id="296" name="txt_station_pro_views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494261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9,907)</a:t>
            </a: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463862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92" name="txt_add_to_cart_station_pro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9%</a:t>
            </a:r>
          </a:p>
        </p:txBody>
      </p:sp>
      <p:sp>
        <p:nvSpPr>
          <p:cNvPr id="293" name="txt_add_to_cart_station_pro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494261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0,409)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463862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9" name="txt_device_stationpro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1%</a:t>
            </a:r>
          </a:p>
        </p:txBody>
      </p:sp>
      <p:sp>
        <p:nvSpPr>
          <p:cNvPr id="290" name="txt_device_stationpro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494261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0,424)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5383680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3" name="txt_account_only_views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9%</a:t>
            </a:r>
          </a:p>
        </p:txBody>
      </p:sp>
      <p:sp>
        <p:nvSpPr>
          <p:cNvPr id="284" name="txt_account_only_views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5687671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9,839)</a:t>
            </a: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5383680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80" name="txt_add_to_cart_account_only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N/A</a:t>
            </a:r>
          </a:p>
        </p:txBody>
      </p:sp>
      <p:sp>
        <p:nvSpPr>
          <p:cNvPr id="281" name="txt_add_to_cart_account_only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517307" y="5687671"/>
            <a:ext cx="595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N/A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5383680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7" name="txt_account_only_purchases_contrib_reg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4.6%</a:t>
            </a:r>
          </a:p>
        </p:txBody>
      </p:sp>
      <p:sp>
        <p:nvSpPr>
          <p:cNvPr id="188" name="txt_account_only_purchases_reg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5687671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8,923)</a:t>
            </a:r>
          </a:p>
        </p:txBody>
      </p:sp>
      <p:sp>
        <p:nvSpPr>
          <p:cNvPr id="359" name="Freeform 358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360" name="Rectangle 359">
            <a:hlinkClick r:id="rId12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361" name="Rectangle 360">
            <a:hlinkClick r:id="rId13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362" name="Rectangle 361">
            <a:hlinkClick r:id="rId14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B</a:t>
            </a:r>
          </a:p>
        </p:txBody>
      </p:sp>
      <p:sp>
        <p:nvSpPr>
          <p:cNvPr id="363" name="Rectangle 362">
            <a:hlinkClick r:id="rId15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364" name="Rectangle 363">
            <a:hlinkClick r:id="rId16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sp>
        <p:nvSpPr>
          <p:cNvPr id="103" name="Accounts Note">
            <a:extLst>
              <a:ext uri="{FF2B5EF4-FFF2-40B4-BE49-F238E27FC236}">
                <a16:creationId xmlns:a16="http://schemas.microsoft.com/office/drawing/2014/main" id="{989C460F-66A3-4085-BA8E-25E7EF63690C}"/>
              </a:ext>
            </a:extLst>
          </p:cNvPr>
          <p:cNvSpPr txBox="1"/>
          <p:nvPr/>
        </p:nvSpPr>
        <p:spPr>
          <a:xfrm>
            <a:off x="411480" y="6323189"/>
            <a:ext cx="59249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d to cart for Virtual will always be N/A due to unique purchase flow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313B6A63-F2F7-4765-B4E3-DEA930BCB74D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272573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Rectangle 212">
            <a:extLst>
              <a:ext uri="{FF2B5EF4-FFF2-40B4-BE49-F238E27FC236}">
                <a16:creationId xmlns:a16="http://schemas.microsoft.com/office/drawing/2014/main" id="{E84E5A22-E6A9-4795-81AE-FB95C15FF0AE}"/>
              </a:ext>
            </a:extLst>
          </p:cNvPr>
          <p:cNvSpPr/>
          <p:nvPr/>
        </p:nvSpPr>
        <p:spPr>
          <a:xfrm rot="5400000">
            <a:off x="8051336" y="2431050"/>
            <a:ext cx="5440077" cy="2368801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413220" y="211575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Executive Summar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1480" y="883274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ustomer Journey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0177925" y="1099441"/>
            <a:ext cx="160901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800"/>
              </a:spcBef>
            </a:pPr>
            <a:r>
              <a:rPr lang="en-US" dirty="0">
                <a:solidFill>
                  <a:schemeClr val="bg1"/>
                </a:solidFill>
              </a:rPr>
              <a:t>Key Insights</a:t>
            </a:r>
          </a:p>
        </p:txBody>
      </p:sp>
      <p:sp>
        <p:nvSpPr>
          <p:cNvPr id="89" name="summary_third_insight_cfi"/>
          <p:cNvSpPr txBox="1"/>
          <p:nvPr/>
        </p:nvSpPr>
        <p:spPr>
          <a:xfrm>
            <a:off x="9687600" y="4769933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1" name="focus_product_metric_cfi"/>
          <p:cNvSpPr txBox="1"/>
          <p:nvPr/>
        </p:nvSpPr>
        <p:spPr>
          <a:xfrm>
            <a:off x="9916000" y="4796440"/>
            <a:ext cx="1834910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Focus on maintaining the Product Purchase Rate and analyze for a similar strategy for other products as is for Prod A Pro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summary_first_insight_cfi"/>
          <p:cNvSpPr txBox="1"/>
          <p:nvPr/>
        </p:nvSpPr>
        <p:spPr>
          <a:xfrm>
            <a:off x="9687600" y="1625797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86" name="summary_second_insight_cfi"/>
          <p:cNvSpPr txBox="1"/>
          <p:nvPr/>
        </p:nvSpPr>
        <p:spPr>
          <a:xfrm>
            <a:off x="9687600" y="3498879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84" name="focus_dropout_cfi"/>
          <p:cNvSpPr txBox="1"/>
          <p:nvPr/>
        </p:nvSpPr>
        <p:spPr>
          <a:xfrm>
            <a:off x="9920909" y="1652301"/>
            <a:ext cx="2034867" cy="14773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Group C has Visitor to Leads Ratio of 1.9% over time. It has not varied much and is 2.5% in May'21 vs. 2.5% in Apr'21 (*Monthly percentage calculations are 3 months rolling). Focus on improving Visitor to Leads Ratio</a:t>
            </a:r>
          </a:p>
        </p:txBody>
      </p:sp>
      <p:sp>
        <p:nvSpPr>
          <p:cNvPr id="87" name="focus_change_cfi"/>
          <p:cNvSpPr txBox="1"/>
          <p:nvPr/>
        </p:nvSpPr>
        <p:spPr>
          <a:xfrm>
            <a:off x="9916000" y="3538639"/>
            <a:ext cx="19968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Focus on improving Visitor to Leads Ratio. It is the lowest  (1.9%) among the  efficiency metric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518991" y="3461844"/>
            <a:ext cx="2393816" cy="1260361"/>
            <a:chOff x="9237442" y="3461844"/>
            <a:chExt cx="2667832" cy="1260361"/>
          </a:xfrm>
        </p:grpSpPr>
        <p:cxnSp>
          <p:nvCxnSpPr>
            <p:cNvPr id="95" name="Straight Connector 94"/>
            <p:cNvCxnSpPr/>
            <p:nvPr/>
          </p:nvCxnSpPr>
          <p:spPr>
            <a:xfrm>
              <a:off x="9237442" y="3461844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9265322" y="4722205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8" name="TextBox 177"/>
          <p:cNvSpPr txBox="1"/>
          <p:nvPr/>
        </p:nvSpPr>
        <p:spPr>
          <a:xfrm>
            <a:off x="506036" y="5165433"/>
            <a:ext cx="3573915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Efficiency Metrics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512917" y="5537615"/>
            <a:ext cx="121368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sitor to Lead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344" name="txt_visitors_leads_cfi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1811432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.9%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3039172" y="5537615"/>
            <a:ext cx="1574052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 to Application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348" name="txt_leads_applications_cfi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4690679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02.7%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5848714" y="5537615"/>
            <a:ext cx="1955688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 to Approved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353" name="txt_application_approved_cfi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7861450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3.0%</a:t>
            </a:r>
          </a:p>
        </p:txBody>
      </p:sp>
      <p:cxnSp>
        <p:nvCxnSpPr>
          <p:cNvPr id="177" name="Straight Connector 176"/>
          <p:cNvCxnSpPr/>
          <p:nvPr/>
        </p:nvCxnSpPr>
        <p:spPr>
          <a:xfrm>
            <a:off x="506036" y="4994359"/>
            <a:ext cx="591783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2242DF8F-F73B-45A5-B4BD-76E50F196FE3}"/>
              </a:ext>
            </a:extLst>
          </p:cNvPr>
          <p:cNvSpPr txBox="1"/>
          <p:nvPr/>
        </p:nvSpPr>
        <p:spPr>
          <a:xfrm>
            <a:off x="446665" y="1282835"/>
            <a:ext cx="1446718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Overall Journey</a:t>
            </a:r>
          </a:p>
        </p:txBody>
      </p:sp>
      <p:sp>
        <p:nvSpPr>
          <p:cNvPr id="127" name="Freeform 126">
            <a:hlinkClick r:id="" action="ppaction://noaction"/>
          </p:cNvPr>
          <p:cNvSpPr>
            <a:spLocks/>
          </p:cNvSpPr>
          <p:nvPr/>
        </p:nvSpPr>
        <p:spPr bwMode="auto">
          <a:xfrm>
            <a:off x="1435798" y="4032210"/>
            <a:ext cx="1358126" cy="824610"/>
          </a:xfrm>
          <a:custGeom>
            <a:avLst/>
            <a:gdLst>
              <a:gd name="connsiteX0" fmla="*/ 0 w 1581150"/>
              <a:gd name="connsiteY0" fmla="*/ 0 h 816952"/>
              <a:gd name="connsiteX1" fmla="*/ 1579865 w 1581150"/>
              <a:gd name="connsiteY1" fmla="*/ 0 h 816952"/>
              <a:gd name="connsiteX2" fmla="*/ 1579171 w 1581150"/>
              <a:gd name="connsiteY2" fmla="*/ 1461 h 816952"/>
              <a:gd name="connsiteX3" fmla="*/ 1577138 w 1581150"/>
              <a:gd name="connsiteY3" fmla="*/ 5739 h 816952"/>
              <a:gd name="connsiteX4" fmla="*/ 1581150 w 1581150"/>
              <a:gd name="connsiteY4" fmla="*/ 5739 h 816952"/>
              <a:gd name="connsiteX5" fmla="*/ 1225625 w 1581150"/>
              <a:gd name="connsiteY5" fmla="*/ 816952 h 816952"/>
              <a:gd name="connsiteX6" fmla="*/ 355525 w 1581150"/>
              <a:gd name="connsiteY6" fmla="*/ 816952 h 816952"/>
              <a:gd name="connsiteX7" fmla="*/ 0 w 1581150"/>
              <a:gd name="connsiteY7" fmla="*/ 5739 h 816952"/>
              <a:gd name="connsiteX8" fmla="*/ 2727 w 1581150"/>
              <a:gd name="connsiteY8" fmla="*/ 5739 h 81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150" h="816952">
                <a:moveTo>
                  <a:pt x="0" y="0"/>
                </a:moveTo>
                <a:cubicBezTo>
                  <a:pt x="0" y="0"/>
                  <a:pt x="0" y="0"/>
                  <a:pt x="1579865" y="0"/>
                </a:cubicBezTo>
                <a:cubicBezTo>
                  <a:pt x="1579865" y="0"/>
                  <a:pt x="1579865" y="0"/>
                  <a:pt x="1579171" y="1461"/>
                </a:cubicBezTo>
                <a:lnTo>
                  <a:pt x="1577138" y="5739"/>
                </a:lnTo>
                <a:lnTo>
                  <a:pt x="1581150" y="5739"/>
                </a:lnTo>
                <a:cubicBezTo>
                  <a:pt x="1581150" y="5739"/>
                  <a:pt x="1581150" y="5739"/>
                  <a:pt x="1225625" y="816952"/>
                </a:cubicBezTo>
                <a:lnTo>
                  <a:pt x="355525" y="816952"/>
                </a:lnTo>
                <a:cubicBezTo>
                  <a:pt x="355525" y="816952"/>
                  <a:pt x="355525" y="816952"/>
                  <a:pt x="0" y="5739"/>
                </a:cubicBezTo>
                <a:lnTo>
                  <a:pt x="2727" y="573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8" name="Freeform 127"/>
          <p:cNvSpPr>
            <a:spLocks/>
          </p:cNvSpPr>
          <p:nvPr/>
        </p:nvSpPr>
        <p:spPr bwMode="auto">
          <a:xfrm>
            <a:off x="1104050" y="3206980"/>
            <a:ext cx="2021622" cy="925260"/>
          </a:xfrm>
          <a:custGeom>
            <a:avLst/>
            <a:gdLst>
              <a:gd name="connsiteX0" fmla="*/ 0 w 2353600"/>
              <a:gd name="connsiteY0" fmla="*/ 0 h 916666"/>
              <a:gd name="connsiteX1" fmla="*/ 2353600 w 2353600"/>
              <a:gd name="connsiteY1" fmla="*/ 0 h 916666"/>
              <a:gd name="connsiteX2" fmla="*/ 1966733 w 2353600"/>
              <a:gd name="connsiteY2" fmla="*/ 817567 h 916666"/>
              <a:gd name="connsiteX3" fmla="*/ 1240643 w 2353600"/>
              <a:gd name="connsiteY3" fmla="*/ 817567 h 916666"/>
              <a:gd name="connsiteX4" fmla="*/ 1177753 w 2353600"/>
              <a:gd name="connsiteY4" fmla="*/ 916666 h 916666"/>
              <a:gd name="connsiteX5" fmla="*/ 1177481 w 2353600"/>
              <a:gd name="connsiteY5" fmla="*/ 916224 h 916666"/>
              <a:gd name="connsiteX6" fmla="*/ 1177209 w 2353600"/>
              <a:gd name="connsiteY6" fmla="*/ 916666 h 916666"/>
              <a:gd name="connsiteX7" fmla="*/ 1114662 w 2353600"/>
              <a:gd name="connsiteY7" fmla="*/ 817567 h 916666"/>
              <a:gd name="connsiteX8" fmla="*/ 386867 w 2353600"/>
              <a:gd name="connsiteY8" fmla="*/ 817567 h 916666"/>
              <a:gd name="connsiteX9" fmla="*/ 386381 w 2353600"/>
              <a:gd name="connsiteY9" fmla="*/ 816539 h 916666"/>
              <a:gd name="connsiteX10" fmla="*/ 385055 w 2353600"/>
              <a:gd name="connsiteY10" fmla="*/ 816539 h 916666"/>
              <a:gd name="connsiteX11" fmla="*/ 0 w 2353600"/>
              <a:gd name="connsiteY11" fmla="*/ 2266 h 916666"/>
              <a:gd name="connsiteX12" fmla="*/ 1073 w 2353600"/>
              <a:gd name="connsiteY12" fmla="*/ 2266 h 91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53600" h="916666">
                <a:moveTo>
                  <a:pt x="0" y="0"/>
                </a:moveTo>
                <a:lnTo>
                  <a:pt x="2353600" y="0"/>
                </a:lnTo>
                <a:lnTo>
                  <a:pt x="1966733" y="817567"/>
                </a:lnTo>
                <a:lnTo>
                  <a:pt x="1240643" y="817567"/>
                </a:lnTo>
                <a:lnTo>
                  <a:pt x="1177753" y="916666"/>
                </a:lnTo>
                <a:lnTo>
                  <a:pt x="1177481" y="916224"/>
                </a:lnTo>
                <a:lnTo>
                  <a:pt x="1177209" y="916666"/>
                </a:lnTo>
                <a:lnTo>
                  <a:pt x="1114662" y="817567"/>
                </a:lnTo>
                <a:lnTo>
                  <a:pt x="386867" y="817567"/>
                </a:lnTo>
                <a:lnTo>
                  <a:pt x="386381" y="816539"/>
                </a:lnTo>
                <a:lnTo>
                  <a:pt x="385055" y="816539"/>
                </a:lnTo>
                <a:lnTo>
                  <a:pt x="0" y="2266"/>
                </a:lnTo>
                <a:lnTo>
                  <a:pt x="1073" y="2266"/>
                </a:lnTo>
                <a:close/>
              </a:path>
            </a:pathLst>
          </a:custGeom>
          <a:solidFill>
            <a:srgbClr val="9B9B9B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9" name="Freeform 128"/>
          <p:cNvSpPr>
            <a:spLocks/>
          </p:cNvSpPr>
          <p:nvPr/>
        </p:nvSpPr>
        <p:spPr bwMode="auto">
          <a:xfrm>
            <a:off x="775026" y="2381748"/>
            <a:ext cx="2679671" cy="932953"/>
          </a:xfrm>
          <a:custGeom>
            <a:avLst/>
            <a:gdLst>
              <a:gd name="T0" fmla="*/ 0 w 1637"/>
              <a:gd name="T1" fmla="*/ 0 h 485"/>
              <a:gd name="T2" fmla="*/ 201 w 1637"/>
              <a:gd name="T3" fmla="*/ 431 h 485"/>
              <a:gd name="T4" fmla="*/ 785 w 1637"/>
              <a:gd name="T5" fmla="*/ 431 h 485"/>
              <a:gd name="T6" fmla="*/ 820 w 1637"/>
              <a:gd name="T7" fmla="*/ 485 h 485"/>
              <a:gd name="T8" fmla="*/ 851 w 1637"/>
              <a:gd name="T9" fmla="*/ 431 h 485"/>
              <a:gd name="T10" fmla="*/ 1435 w 1637"/>
              <a:gd name="T11" fmla="*/ 431 h 485"/>
              <a:gd name="T12" fmla="*/ 1637 w 1637"/>
              <a:gd name="T13" fmla="*/ 0 h 485"/>
              <a:gd name="T14" fmla="*/ 0 w 1637"/>
              <a:gd name="T15" fmla="*/ 0 h 485"/>
              <a:gd name="T16" fmla="*/ 0 w 1637"/>
              <a:gd name="T17" fmla="*/ 0 h 485"/>
              <a:gd name="T18" fmla="*/ 0 w 1637"/>
              <a:gd name="T19" fmla="*/ 0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37" h="485">
                <a:moveTo>
                  <a:pt x="0" y="0"/>
                </a:moveTo>
                <a:lnTo>
                  <a:pt x="201" y="431"/>
                </a:lnTo>
                <a:lnTo>
                  <a:pt x="785" y="431"/>
                </a:lnTo>
                <a:lnTo>
                  <a:pt x="820" y="485"/>
                </a:lnTo>
                <a:lnTo>
                  <a:pt x="851" y="431"/>
                </a:lnTo>
                <a:lnTo>
                  <a:pt x="1435" y="431"/>
                </a:lnTo>
                <a:lnTo>
                  <a:pt x="1637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30" name="Freeform 129"/>
          <p:cNvSpPr>
            <a:spLocks/>
          </p:cNvSpPr>
          <p:nvPr/>
        </p:nvSpPr>
        <p:spPr bwMode="auto">
          <a:xfrm>
            <a:off x="441090" y="1558443"/>
            <a:ext cx="3347541" cy="925260"/>
          </a:xfrm>
          <a:custGeom>
            <a:avLst/>
            <a:gdLst>
              <a:gd name="T0" fmla="*/ 1250 w 1250"/>
              <a:gd name="T1" fmla="*/ 0 h 294"/>
              <a:gd name="T2" fmla="*/ 1126 w 1250"/>
              <a:gd name="T3" fmla="*/ 261 h 294"/>
              <a:gd name="T4" fmla="*/ 646 w 1250"/>
              <a:gd name="T5" fmla="*/ 261 h 294"/>
              <a:gd name="T6" fmla="*/ 626 w 1250"/>
              <a:gd name="T7" fmla="*/ 294 h 294"/>
              <a:gd name="T8" fmla="*/ 605 w 1250"/>
              <a:gd name="T9" fmla="*/ 261 h 294"/>
              <a:gd name="T10" fmla="*/ 125 w 1250"/>
              <a:gd name="T11" fmla="*/ 261 h 294"/>
              <a:gd name="T12" fmla="*/ 55 w 1250"/>
              <a:gd name="T13" fmla="*/ 115 h 294"/>
              <a:gd name="T14" fmla="*/ 55 w 1250"/>
              <a:gd name="T15" fmla="*/ 115 h 294"/>
              <a:gd name="T16" fmla="*/ 0 w 1250"/>
              <a:gd name="T17" fmla="*/ 0 h 294"/>
              <a:gd name="T18" fmla="*/ 135 w 1250"/>
              <a:gd name="T19" fmla="*/ 0 h 294"/>
              <a:gd name="T20" fmla="*/ 135 w 1250"/>
              <a:gd name="T21" fmla="*/ 0 h 294"/>
              <a:gd name="T22" fmla="*/ 626 w 1250"/>
              <a:gd name="T23" fmla="*/ 0 h 294"/>
              <a:gd name="T24" fmla="*/ 1095 w 1250"/>
              <a:gd name="T25" fmla="*/ 0 h 294"/>
              <a:gd name="T26" fmla="*/ 1095 w 1250"/>
              <a:gd name="T27" fmla="*/ 0 h 294"/>
              <a:gd name="T28" fmla="*/ 1250 w 1250"/>
              <a:gd name="T29" fmla="*/ 0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50" h="294">
                <a:moveTo>
                  <a:pt x="1250" y="0"/>
                </a:moveTo>
                <a:cubicBezTo>
                  <a:pt x="1126" y="261"/>
                  <a:pt x="1126" y="261"/>
                  <a:pt x="1126" y="261"/>
                </a:cubicBezTo>
                <a:cubicBezTo>
                  <a:pt x="646" y="261"/>
                  <a:pt x="646" y="261"/>
                  <a:pt x="646" y="261"/>
                </a:cubicBezTo>
                <a:cubicBezTo>
                  <a:pt x="646" y="261"/>
                  <a:pt x="646" y="261"/>
                  <a:pt x="626" y="294"/>
                </a:cubicBezTo>
                <a:cubicBezTo>
                  <a:pt x="626" y="294"/>
                  <a:pt x="626" y="294"/>
                  <a:pt x="605" y="261"/>
                </a:cubicBezTo>
                <a:cubicBezTo>
                  <a:pt x="605" y="261"/>
                  <a:pt x="605" y="261"/>
                  <a:pt x="125" y="261"/>
                </a:cubicBezTo>
                <a:cubicBezTo>
                  <a:pt x="125" y="261"/>
                  <a:pt x="124" y="261"/>
                  <a:pt x="55" y="115"/>
                </a:cubicBezTo>
                <a:cubicBezTo>
                  <a:pt x="55" y="115"/>
                  <a:pt x="55" y="115"/>
                  <a:pt x="55" y="115"/>
                </a:cubicBezTo>
                <a:cubicBezTo>
                  <a:pt x="0" y="0"/>
                  <a:pt x="0" y="0"/>
                  <a:pt x="0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626" y="0"/>
                  <a:pt x="626" y="0"/>
                  <a:pt x="626" y="0"/>
                </a:cubicBezTo>
                <a:cubicBezTo>
                  <a:pt x="626" y="0"/>
                  <a:pt x="626" y="0"/>
                  <a:pt x="1095" y="0"/>
                </a:cubicBezTo>
                <a:cubicBezTo>
                  <a:pt x="1095" y="0"/>
                  <a:pt x="1095" y="0"/>
                  <a:pt x="1095" y="0"/>
                </a:cubicBezTo>
                <a:lnTo>
                  <a:pt x="1250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/>
          </a:p>
        </p:txBody>
      </p:sp>
      <p:sp>
        <p:nvSpPr>
          <p:cNvPr id="131" name="txt_visitors_cfi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1988142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1,274,983</a:t>
            </a:r>
          </a:p>
        </p:txBody>
      </p:sp>
      <p:sp>
        <p:nvSpPr>
          <p:cNvPr id="132" name="Rectangle 131"/>
          <p:cNvSpPr/>
          <p:nvPr/>
        </p:nvSpPr>
        <p:spPr>
          <a:xfrm>
            <a:off x="1554969" y="1880590"/>
            <a:ext cx="1127387" cy="1812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/>
              <a:t>Visitors</a:t>
            </a:r>
          </a:p>
        </p:txBody>
      </p:sp>
      <p:grpSp>
        <p:nvGrpSpPr>
          <p:cNvPr id="133" name="Group 4"/>
          <p:cNvGrpSpPr>
            <a:grpSpLocks noChangeAspect="1"/>
          </p:cNvGrpSpPr>
          <p:nvPr/>
        </p:nvGrpSpPr>
        <p:grpSpPr bwMode="auto">
          <a:xfrm>
            <a:off x="1999625" y="4197511"/>
            <a:ext cx="230472" cy="212989"/>
            <a:chOff x="1229" y="3302"/>
            <a:chExt cx="196" cy="196"/>
          </a:xfrm>
        </p:grpSpPr>
        <p:sp>
          <p:nvSpPr>
            <p:cNvPr id="134" name="Oval 133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6" name="Freeform 135"/>
          <p:cNvSpPr>
            <a:spLocks noEditPoints="1"/>
          </p:cNvSpPr>
          <p:nvPr/>
        </p:nvSpPr>
        <p:spPr bwMode="auto">
          <a:xfrm>
            <a:off x="1997479" y="3368350"/>
            <a:ext cx="234764" cy="214325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37" name="Group 136"/>
          <p:cNvGrpSpPr/>
          <p:nvPr/>
        </p:nvGrpSpPr>
        <p:grpSpPr>
          <a:xfrm>
            <a:off x="1988371" y="2528651"/>
            <a:ext cx="252982" cy="232293"/>
            <a:chOff x="5972176" y="3303588"/>
            <a:chExt cx="247650" cy="246063"/>
          </a:xfrm>
        </p:grpSpPr>
        <p:sp>
          <p:nvSpPr>
            <p:cNvPr id="138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1" name="Group 8"/>
          <p:cNvGrpSpPr>
            <a:grpSpLocks noChangeAspect="1"/>
          </p:cNvGrpSpPr>
          <p:nvPr/>
        </p:nvGrpSpPr>
        <p:grpSpPr bwMode="auto">
          <a:xfrm>
            <a:off x="1963332" y="1708156"/>
            <a:ext cx="303057" cy="151212"/>
            <a:chOff x="264" y="1506"/>
            <a:chExt cx="213" cy="115"/>
          </a:xfrm>
        </p:grpSpPr>
        <p:sp>
          <p:nvSpPr>
            <p:cNvPr id="143" name="Oval 9"/>
            <p:cNvSpPr>
              <a:spLocks noChangeArrowheads="1"/>
            </p:cNvSpPr>
            <p:nvPr/>
          </p:nvSpPr>
          <p:spPr bwMode="auto">
            <a:xfrm>
              <a:off x="342" y="1506"/>
              <a:ext cx="57" cy="57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Freeform 10"/>
            <p:cNvSpPr>
              <a:spLocks/>
            </p:cNvSpPr>
            <p:nvPr/>
          </p:nvSpPr>
          <p:spPr bwMode="auto">
            <a:xfrm>
              <a:off x="324" y="1574"/>
              <a:ext cx="93" cy="47"/>
            </a:xfrm>
            <a:custGeom>
              <a:avLst/>
              <a:gdLst>
                <a:gd name="T0" fmla="*/ 0 w 56"/>
                <a:gd name="T1" fmla="*/ 28 h 28"/>
                <a:gd name="T2" fmla="*/ 28 w 56"/>
                <a:gd name="T3" fmla="*/ 0 h 28"/>
                <a:gd name="T4" fmla="*/ 56 w 56"/>
                <a:gd name="T5" fmla="*/ 28 h 28"/>
                <a:gd name="T6" fmla="*/ 0 w 56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28">
                  <a:moveTo>
                    <a:pt x="0" y="28"/>
                  </a:moveTo>
                  <a:cubicBezTo>
                    <a:pt x="0" y="13"/>
                    <a:pt x="13" y="0"/>
                    <a:pt x="28" y="0"/>
                  </a:cubicBezTo>
                  <a:cubicBezTo>
                    <a:pt x="44" y="0"/>
                    <a:pt x="56" y="13"/>
                    <a:pt x="56" y="28"/>
                  </a:cubicBezTo>
                  <a:lnTo>
                    <a:pt x="0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6" name="Freeform 11"/>
            <p:cNvSpPr>
              <a:spLocks/>
            </p:cNvSpPr>
            <p:nvPr/>
          </p:nvSpPr>
          <p:spPr bwMode="auto">
            <a:xfrm>
              <a:off x="424" y="1582"/>
              <a:ext cx="53" cy="39"/>
            </a:xfrm>
            <a:custGeom>
              <a:avLst/>
              <a:gdLst>
                <a:gd name="T0" fmla="*/ 4 w 32"/>
                <a:gd name="T1" fmla="*/ 23 h 23"/>
                <a:gd name="T2" fmla="*/ 32 w 32"/>
                <a:gd name="T3" fmla="*/ 23 h 23"/>
                <a:gd name="T4" fmla="*/ 22 w 32"/>
                <a:gd name="T5" fmla="*/ 5 h 23"/>
                <a:gd name="T6" fmla="*/ 0 w 32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3">
                  <a:moveTo>
                    <a:pt x="4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6"/>
                    <a:pt x="28" y="9"/>
                    <a:pt x="22" y="5"/>
                  </a:cubicBezTo>
                  <a:cubicBezTo>
                    <a:pt x="15" y="1"/>
                    <a:pt x="7" y="0"/>
                    <a:pt x="0" y="4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7" name="Oval 12"/>
            <p:cNvSpPr>
              <a:spLocks noChangeArrowheads="1"/>
            </p:cNvSpPr>
            <p:nvPr/>
          </p:nvSpPr>
          <p:spPr bwMode="auto">
            <a:xfrm>
              <a:off x="419" y="1530"/>
              <a:ext cx="43" cy="44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9" name="Freeform 13"/>
            <p:cNvSpPr>
              <a:spLocks/>
            </p:cNvSpPr>
            <p:nvPr/>
          </p:nvSpPr>
          <p:spPr bwMode="auto">
            <a:xfrm>
              <a:off x="264" y="1582"/>
              <a:ext cx="53" cy="39"/>
            </a:xfrm>
            <a:custGeom>
              <a:avLst/>
              <a:gdLst>
                <a:gd name="T0" fmla="*/ 28 w 32"/>
                <a:gd name="T1" fmla="*/ 23 h 23"/>
                <a:gd name="T2" fmla="*/ 0 w 32"/>
                <a:gd name="T3" fmla="*/ 23 h 23"/>
                <a:gd name="T4" fmla="*/ 10 w 32"/>
                <a:gd name="T5" fmla="*/ 5 h 23"/>
                <a:gd name="T6" fmla="*/ 32 w 32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3">
                  <a:moveTo>
                    <a:pt x="28" y="23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6"/>
                    <a:pt x="4" y="9"/>
                    <a:pt x="10" y="5"/>
                  </a:cubicBezTo>
                  <a:cubicBezTo>
                    <a:pt x="17" y="1"/>
                    <a:pt x="25" y="0"/>
                    <a:pt x="32" y="4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0" name="Oval 14"/>
            <p:cNvSpPr>
              <a:spLocks noChangeArrowheads="1"/>
            </p:cNvSpPr>
            <p:nvPr/>
          </p:nvSpPr>
          <p:spPr bwMode="auto">
            <a:xfrm>
              <a:off x="279" y="1530"/>
              <a:ext cx="43" cy="44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51" name="txt_leads_cfi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2875808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24,138</a:t>
            </a:r>
          </a:p>
        </p:txBody>
      </p:sp>
      <p:sp>
        <p:nvSpPr>
          <p:cNvPr id="152" name="Rectangle 151"/>
          <p:cNvSpPr/>
          <p:nvPr/>
        </p:nvSpPr>
        <p:spPr>
          <a:xfrm>
            <a:off x="1554969" y="2777755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eads</a:t>
            </a:r>
          </a:p>
        </p:txBody>
      </p:sp>
      <p:sp>
        <p:nvSpPr>
          <p:cNvPr id="157" name="txt_total_app_cfi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3698757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73,059</a:t>
            </a:r>
          </a:p>
        </p:txBody>
      </p:sp>
      <p:sp>
        <p:nvSpPr>
          <p:cNvPr id="159" name="Rectangle 158"/>
          <p:cNvSpPr/>
          <p:nvPr/>
        </p:nvSpPr>
        <p:spPr>
          <a:xfrm>
            <a:off x="1554969" y="3600703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pplications</a:t>
            </a:r>
          </a:p>
        </p:txBody>
      </p:sp>
      <p:sp>
        <p:nvSpPr>
          <p:cNvPr id="160" name="txt_tot_approved_cfi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4521061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24,093</a:t>
            </a:r>
          </a:p>
        </p:txBody>
      </p:sp>
      <p:sp>
        <p:nvSpPr>
          <p:cNvPr id="162" name="Rectangle 161"/>
          <p:cNvSpPr/>
          <p:nvPr/>
        </p:nvSpPr>
        <p:spPr>
          <a:xfrm>
            <a:off x="1554969" y="4423006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pprovals</a:t>
            </a:r>
          </a:p>
        </p:txBody>
      </p:sp>
      <p:sp>
        <p:nvSpPr>
          <p:cNvPr id="108" name="Data Note">
            <a:extLst>
              <a:ext uri="{FF2B5EF4-FFF2-40B4-BE49-F238E27FC236}">
                <a16:creationId xmlns:a16="http://schemas.microsoft.com/office/drawing/2014/main" id="{4A9D5133-939A-4059-9FA2-318428BD29FB}"/>
              </a:ext>
            </a:extLst>
          </p:cNvPr>
          <p:cNvSpPr txBox="1"/>
          <p:nvPr/>
        </p:nvSpPr>
        <p:spPr>
          <a:xfrm>
            <a:off x="411480" y="6144360"/>
            <a:ext cx="2231380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rgbClr val="000000"/>
                </a:solidFill>
              </a:rPr>
              <a:t>Note: The current period of analysis is 2021 YTD</a:t>
            </a:r>
          </a:p>
        </p:txBody>
      </p:sp>
      <p:sp>
        <p:nvSpPr>
          <p:cNvPr id="207" name="Freeform 206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208" name="Rectangle 207">
            <a:hlinkClick r:id="rId6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209" name="Rectangle 208">
            <a:hlinkClick r:id="rId7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210" name="Rectangle 209">
            <a:hlinkClick r:id="rId8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211" name="Rectangle 210">
            <a:hlinkClick r:id="rId9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C</a:t>
            </a:r>
          </a:p>
        </p:txBody>
      </p:sp>
      <p:sp>
        <p:nvSpPr>
          <p:cNvPr id="212" name="Rectangle 211">
            <a:hlinkClick r:id="rId10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cxnSp>
        <p:nvCxnSpPr>
          <p:cNvPr id="107" name="Straight Connector 106"/>
          <p:cNvCxnSpPr>
            <a:cxnSpLocks/>
          </p:cNvCxnSpPr>
          <p:nvPr/>
        </p:nvCxnSpPr>
        <p:spPr>
          <a:xfrm flipH="1">
            <a:off x="3948430" y="3190064"/>
            <a:ext cx="475361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3941544" y="2039815"/>
            <a:ext cx="1694282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Self-Service Journey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3941544" y="3552593"/>
            <a:ext cx="178111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Rep-Assisted Journey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7922906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25" name="txt_self_service_approvals_cfi"/>
          <p:cNvSpPr/>
          <p:nvPr/>
        </p:nvSpPr>
        <p:spPr>
          <a:xfrm>
            <a:off x="7922906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4,965</a:t>
            </a:r>
          </a:p>
        </p:txBody>
      </p:sp>
      <p:grpSp>
        <p:nvGrpSpPr>
          <p:cNvPr id="126" name="Group 4"/>
          <p:cNvGrpSpPr>
            <a:grpSpLocks noChangeAspect="1"/>
          </p:cNvGrpSpPr>
          <p:nvPr/>
        </p:nvGrpSpPr>
        <p:grpSpPr bwMode="auto">
          <a:xfrm>
            <a:off x="7524728" y="2458886"/>
            <a:ext cx="280673" cy="280673"/>
            <a:chOff x="1229" y="3302"/>
            <a:chExt cx="196" cy="196"/>
          </a:xfrm>
        </p:grpSpPr>
        <p:sp>
          <p:nvSpPr>
            <p:cNvPr id="142" name="Oval 141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4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6158739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22" name="txt_self_service_applications_cfi"/>
          <p:cNvSpPr/>
          <p:nvPr/>
        </p:nvSpPr>
        <p:spPr>
          <a:xfrm>
            <a:off x="6158739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77,914</a:t>
            </a:r>
          </a:p>
        </p:txBody>
      </p:sp>
      <p:sp>
        <p:nvSpPr>
          <p:cNvPr id="123" name="Freeform 122"/>
          <p:cNvSpPr>
            <a:spLocks noEditPoints="1"/>
          </p:cNvSpPr>
          <p:nvPr/>
        </p:nvSpPr>
        <p:spPr bwMode="auto">
          <a:xfrm>
            <a:off x="5755334" y="2455840"/>
            <a:ext cx="285900" cy="282433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rgbClr val="404040"/>
          </a:solidFill>
          <a:ln w="317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4389344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16" name="txt_self_service_leads_cfi"/>
          <p:cNvSpPr/>
          <p:nvPr/>
        </p:nvSpPr>
        <p:spPr>
          <a:xfrm>
            <a:off x="4389344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6,287</a:t>
            </a:r>
          </a:p>
        </p:txBody>
      </p:sp>
      <p:grpSp>
        <p:nvGrpSpPr>
          <p:cNvPr id="117" name="Group 116"/>
          <p:cNvGrpSpPr/>
          <p:nvPr/>
        </p:nvGrpSpPr>
        <p:grpSpPr>
          <a:xfrm>
            <a:off x="3963754" y="2471116"/>
            <a:ext cx="308085" cy="306111"/>
            <a:chOff x="5972176" y="3303588"/>
            <a:chExt cx="247650" cy="246063"/>
          </a:xfrm>
        </p:grpSpPr>
        <p:sp>
          <p:nvSpPr>
            <p:cNvPr id="118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70" name="Rectangle 169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7922906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71" name="txt_rep_assisted_approvals_cfi"/>
          <p:cNvSpPr/>
          <p:nvPr/>
        </p:nvSpPr>
        <p:spPr>
          <a:xfrm>
            <a:off x="7922906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4,447</a:t>
            </a:r>
          </a:p>
        </p:txBody>
      </p:sp>
      <p:grpSp>
        <p:nvGrpSpPr>
          <p:cNvPr id="172" name="Group 4"/>
          <p:cNvGrpSpPr>
            <a:grpSpLocks noChangeAspect="1"/>
          </p:cNvGrpSpPr>
          <p:nvPr/>
        </p:nvGrpSpPr>
        <p:grpSpPr bwMode="auto">
          <a:xfrm>
            <a:off x="7524728" y="3976340"/>
            <a:ext cx="280673" cy="280673"/>
            <a:chOff x="1229" y="3302"/>
            <a:chExt cx="196" cy="196"/>
          </a:xfrm>
        </p:grpSpPr>
        <p:sp>
          <p:nvSpPr>
            <p:cNvPr id="173" name="Oval 172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7" name="Rectangle 166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6158739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68" name="txt_rep_assisted_applications_cfi"/>
          <p:cNvSpPr/>
          <p:nvPr/>
        </p:nvSpPr>
        <p:spPr>
          <a:xfrm>
            <a:off x="6158739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76,805</a:t>
            </a:r>
          </a:p>
        </p:txBody>
      </p:sp>
      <p:sp>
        <p:nvSpPr>
          <p:cNvPr id="169" name="Freeform 168"/>
          <p:cNvSpPr>
            <a:spLocks noEditPoints="1"/>
          </p:cNvSpPr>
          <p:nvPr/>
        </p:nvSpPr>
        <p:spPr bwMode="auto">
          <a:xfrm>
            <a:off x="5755334" y="3973294"/>
            <a:ext cx="285900" cy="282433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rgbClr val="404040"/>
          </a:solidFill>
          <a:ln w="317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4389344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61" name="txt_rep_assisted_leads_cfi"/>
          <p:cNvSpPr/>
          <p:nvPr/>
        </p:nvSpPr>
        <p:spPr>
          <a:xfrm>
            <a:off x="4389344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4,333</a:t>
            </a:r>
          </a:p>
        </p:txBody>
      </p:sp>
      <p:grpSp>
        <p:nvGrpSpPr>
          <p:cNvPr id="163" name="Group 162"/>
          <p:cNvGrpSpPr/>
          <p:nvPr/>
        </p:nvGrpSpPr>
        <p:grpSpPr>
          <a:xfrm>
            <a:off x="3963754" y="3988570"/>
            <a:ext cx="308085" cy="306111"/>
            <a:chOff x="5972176" y="3303588"/>
            <a:chExt cx="247650" cy="246063"/>
          </a:xfrm>
        </p:grpSpPr>
        <p:sp>
          <p:nvSpPr>
            <p:cNvPr id="164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4679C150-7F9A-476A-B4A0-105B5A648953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108203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413220" y="211575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Comparison trend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11480" y="1128840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Month over Month 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946446" y="1128839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Year over Year</a:t>
            </a:r>
          </a:p>
        </p:txBody>
      </p:sp>
      <p:graphicFrame>
        <p:nvGraphicFramePr>
          <p:cNvPr id="34" name="MoM_cfi"/>
          <p:cNvGraphicFramePr/>
          <p:nvPr>
            <p:extLst>
              <p:ext uri="{D42A27DB-BD31-4B8C-83A1-F6EECF244321}">
                <p14:modId xmlns:p14="http://schemas.microsoft.com/office/powerpoint/2010/main" val="2003865094"/>
              </p:ext>
            </p:extLst>
          </p:nvPr>
        </p:nvGraphicFramePr>
        <p:xfrm>
          <a:off x="310680" y="1313506"/>
          <a:ext cx="5082587" cy="42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5" name="YoY_cfi"/>
          <p:cNvGraphicFramePr/>
          <p:nvPr>
            <p:extLst>
              <p:ext uri="{D42A27DB-BD31-4B8C-83A1-F6EECF244321}">
                <p14:modId xmlns:p14="http://schemas.microsoft.com/office/powerpoint/2010/main" val="2926355357"/>
              </p:ext>
            </p:extLst>
          </p:nvPr>
        </p:nvGraphicFramePr>
        <p:xfrm>
          <a:off x="6740150" y="1313506"/>
          <a:ext cx="4846161" cy="42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36" name="Straight Connector 35"/>
          <p:cNvCxnSpPr/>
          <p:nvPr/>
        </p:nvCxnSpPr>
        <p:spPr>
          <a:xfrm>
            <a:off x="6096000" y="1208015"/>
            <a:ext cx="0" cy="3775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5095565" y="5547360"/>
            <a:ext cx="2000871" cy="184666"/>
            <a:chOff x="5042628" y="5547360"/>
            <a:chExt cx="2000871" cy="184666"/>
          </a:xfrm>
        </p:grpSpPr>
        <p:grpSp>
          <p:nvGrpSpPr>
            <p:cNvPr id="38" name="Group 37"/>
            <p:cNvGrpSpPr/>
            <p:nvPr/>
          </p:nvGrpSpPr>
          <p:grpSpPr>
            <a:xfrm>
              <a:off x="5042628" y="5547360"/>
              <a:ext cx="684904" cy="184666"/>
              <a:chOff x="4152550" y="5452827"/>
              <a:chExt cx="684904" cy="184666"/>
            </a:xfrm>
          </p:grpSpPr>
          <p:sp>
            <p:nvSpPr>
              <p:cNvPr id="42" name="Rectangle 41"/>
              <p:cNvSpPr/>
              <p:nvPr/>
            </p:nvSpPr>
            <p:spPr>
              <a:xfrm>
                <a:off x="4152550" y="5464644"/>
                <a:ext cx="161033" cy="161033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4420673" y="5452827"/>
                <a:ext cx="41678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Leads</a:t>
                </a: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6094099" y="5547360"/>
              <a:ext cx="949400" cy="184666"/>
              <a:chOff x="4152550" y="5452827"/>
              <a:chExt cx="949400" cy="184666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4152550" y="5464644"/>
                <a:ext cx="161033" cy="161033"/>
              </a:xfrm>
              <a:prstGeom prst="rect">
                <a:avLst/>
              </a:prstGeom>
              <a:solidFill>
                <a:srgbClr val="6366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4420673" y="5452827"/>
                <a:ext cx="68127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Approvals</a:t>
                </a:r>
              </a:p>
            </p:txBody>
          </p:sp>
        </p:grpSp>
      </p:grpSp>
      <p:sp>
        <p:nvSpPr>
          <p:cNvPr id="44" name="Freeform 43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45" name="Rectangle 44">
            <a:hlinkClick r:id="rId8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46" name="Rectangle 45">
            <a:hlinkClick r:id="rId9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47" name="Rectangle 46">
            <a:hlinkClick r:id="rId10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48" name="Rectangle 47">
            <a:hlinkClick r:id="rId11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C</a:t>
            </a:r>
          </a:p>
        </p:txBody>
      </p:sp>
      <p:sp>
        <p:nvSpPr>
          <p:cNvPr id="49" name="Rectangle 48">
            <a:hlinkClick r:id="rId12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1C78934-AF33-4D6F-83C5-702639637D9D}"/>
              </a:ext>
            </a:extLst>
          </p:cNvPr>
          <p:cNvSpPr txBox="1"/>
          <p:nvPr/>
        </p:nvSpPr>
        <p:spPr>
          <a:xfrm>
            <a:off x="8285797" y="5493379"/>
            <a:ext cx="175605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 YoY% Change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88A66FE-F04B-46B8-93E0-59BB387C2AF2}"/>
              </a:ext>
            </a:extLst>
          </p:cNvPr>
          <p:cNvSpPr txBox="1"/>
          <p:nvPr/>
        </p:nvSpPr>
        <p:spPr>
          <a:xfrm>
            <a:off x="8292425" y="5208459"/>
            <a:ext cx="149156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YoY% Change:</a:t>
            </a:r>
          </a:p>
        </p:txBody>
      </p:sp>
      <p:sp>
        <p:nvSpPr>
          <p:cNvPr id="26" name="Approvals YoY_cfi">
            <a:extLst>
              <a:ext uri="{FF2B5EF4-FFF2-40B4-BE49-F238E27FC236}">
                <a16:creationId xmlns:a16="http://schemas.microsoft.com/office/drawing/2014/main" id="{DF7BDBEA-CD87-4D47-AB14-DBA343D388A1}"/>
              </a:ext>
            </a:extLst>
          </p:cNvPr>
          <p:cNvSpPr txBox="1"/>
          <p:nvPr/>
        </p:nvSpPr>
        <p:spPr>
          <a:xfrm>
            <a:off x="10041717" y="5502844"/>
            <a:ext cx="70857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- 5.1%</a:t>
            </a:r>
          </a:p>
        </p:txBody>
      </p:sp>
      <p:sp>
        <p:nvSpPr>
          <p:cNvPr id="27" name="Leads YoY_cfi">
            <a:extLst>
              <a:ext uri="{FF2B5EF4-FFF2-40B4-BE49-F238E27FC236}">
                <a16:creationId xmlns:a16="http://schemas.microsoft.com/office/drawing/2014/main" id="{00BAC264-8739-42DF-AF34-029ED05B8D28}"/>
              </a:ext>
            </a:extLst>
          </p:cNvPr>
          <p:cNvSpPr txBox="1"/>
          <p:nvPr/>
        </p:nvSpPr>
        <p:spPr>
          <a:xfrm>
            <a:off x="10035093" y="5204672"/>
            <a:ext cx="70857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- 4.6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50DA39-2B05-44BA-884C-3B205C6454A8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389489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>
            <a:extLst>
              <a:ext uri="{FF2B5EF4-FFF2-40B4-BE49-F238E27FC236}">
                <a16:creationId xmlns:a16="http://schemas.microsoft.com/office/drawing/2014/main" id="{28B511CB-FEFF-40C4-8315-00D11E6F2BED}"/>
              </a:ext>
            </a:extLst>
          </p:cNvPr>
          <p:cNvSpPr/>
          <p:nvPr/>
        </p:nvSpPr>
        <p:spPr>
          <a:xfrm rot="5400000">
            <a:off x="8051335" y="2431051"/>
            <a:ext cx="5440077" cy="2368800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product_heading_cfi"/>
          <p:cNvSpPr txBox="1"/>
          <p:nvPr/>
        </p:nvSpPr>
        <p:spPr>
          <a:xfrm>
            <a:off x="413220" y="211574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Distribution</a:t>
            </a:r>
          </a:p>
        </p:txBody>
      </p:sp>
      <p:cxnSp>
        <p:nvCxnSpPr>
          <p:cNvPr id="61" name="Straight Connector 60"/>
          <p:cNvCxnSpPr/>
          <p:nvPr/>
        </p:nvCxnSpPr>
        <p:spPr>
          <a:xfrm>
            <a:off x="9756313" y="1251855"/>
            <a:ext cx="0" cy="4729845"/>
          </a:xfrm>
          <a:prstGeom prst="line">
            <a:avLst/>
          </a:prstGeom>
          <a:ln>
            <a:solidFill>
              <a:srgbClr val="5A5A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Freeform 6"/>
          <p:cNvSpPr>
            <a:spLocks/>
          </p:cNvSpPr>
          <p:nvPr/>
        </p:nvSpPr>
        <p:spPr bwMode="auto">
          <a:xfrm>
            <a:off x="6203508" y="6522854"/>
            <a:ext cx="54418" cy="115366"/>
          </a:xfrm>
          <a:custGeom>
            <a:avLst/>
            <a:gdLst>
              <a:gd name="T0" fmla="*/ 0 w 25"/>
              <a:gd name="T1" fmla="*/ 0 h 53"/>
              <a:gd name="T2" fmla="*/ 25 w 25"/>
              <a:gd name="T3" fmla="*/ 27 h 53"/>
              <a:gd name="T4" fmla="*/ 0 w 25"/>
              <a:gd name="T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53">
                <a:moveTo>
                  <a:pt x="0" y="0"/>
                </a:moveTo>
                <a:lnTo>
                  <a:pt x="25" y="27"/>
                </a:lnTo>
                <a:lnTo>
                  <a:pt x="0" y="53"/>
                </a:lnTo>
              </a:path>
            </a:pathLst>
          </a:custGeom>
          <a:noFill/>
          <a:ln w="19050" cap="rnd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" name="Freeform 8"/>
          <p:cNvSpPr>
            <a:spLocks/>
          </p:cNvSpPr>
          <p:nvPr/>
        </p:nvSpPr>
        <p:spPr bwMode="auto">
          <a:xfrm>
            <a:off x="5934075" y="6522854"/>
            <a:ext cx="54418" cy="115366"/>
          </a:xfrm>
          <a:custGeom>
            <a:avLst/>
            <a:gdLst>
              <a:gd name="T0" fmla="*/ 25 w 25"/>
              <a:gd name="T1" fmla="*/ 0 h 53"/>
              <a:gd name="T2" fmla="*/ 0 w 25"/>
              <a:gd name="T3" fmla="*/ 27 h 53"/>
              <a:gd name="T4" fmla="*/ 25 w 25"/>
              <a:gd name="T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53">
                <a:moveTo>
                  <a:pt x="25" y="0"/>
                </a:moveTo>
                <a:lnTo>
                  <a:pt x="0" y="27"/>
                </a:lnTo>
                <a:lnTo>
                  <a:pt x="25" y="53"/>
                </a:lnTo>
              </a:path>
            </a:pathLst>
          </a:custGeom>
          <a:noFill/>
          <a:ln w="19050" cap="rnd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" name="Rectangle 72">
            <a:hlinkClick r:id="" action="ppaction://hlinkshowjump?jump=previousslide"/>
          </p:cNvPr>
          <p:cNvSpPr/>
          <p:nvPr/>
        </p:nvSpPr>
        <p:spPr>
          <a:xfrm>
            <a:off x="5878291" y="6489924"/>
            <a:ext cx="181226" cy="18122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>
            <a:hlinkClick r:id="" action="ppaction://hlinkshowjump?jump=nextslide"/>
          </p:cNvPr>
          <p:cNvSpPr/>
          <p:nvPr/>
        </p:nvSpPr>
        <p:spPr>
          <a:xfrm>
            <a:off x="6140104" y="6489924"/>
            <a:ext cx="181226" cy="18122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08C300C2-5A89-437D-9C10-F9413B8696BC}"/>
              </a:ext>
            </a:extLst>
          </p:cNvPr>
          <p:cNvSpPr txBox="1"/>
          <p:nvPr/>
        </p:nvSpPr>
        <p:spPr>
          <a:xfrm>
            <a:off x="9901697" y="1251855"/>
            <a:ext cx="187151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800"/>
              </a:spcBef>
            </a:pPr>
            <a:r>
              <a:rPr lang="en-US" sz="1400" b="1" dirty="0">
                <a:solidFill>
                  <a:schemeClr val="bg1"/>
                </a:solidFill>
              </a:rPr>
              <a:t>Insight</a:t>
            </a:r>
          </a:p>
        </p:txBody>
      </p:sp>
      <p:sp>
        <p:nvSpPr>
          <p:cNvPr id="98" name="product_insight_cfi">
            <a:extLst>
              <a:ext uri="{FF2B5EF4-FFF2-40B4-BE49-F238E27FC236}">
                <a16:creationId xmlns:a16="http://schemas.microsoft.com/office/drawing/2014/main" id="{F2D6D52D-2316-4848-A485-51D3D988EC0F}"/>
              </a:ext>
            </a:extLst>
          </p:cNvPr>
          <p:cNvSpPr/>
          <p:nvPr/>
        </p:nvSpPr>
        <p:spPr>
          <a:xfrm>
            <a:off x="9901697" y="1571802"/>
            <a:ext cx="1770487" cy="276998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Prod A Pro has a Purchase share of 17.1% and it is ranked 1 among all products. With Add to Cart share of 16.3% and a rank of 5, Prod A Pro has highest Product Purchase Rate of 105.9%. Focus on maintaining the Product Purchase Rate and analyze for a similar strategy for other products as is for Prod A Pro.</a:t>
            </a:r>
          </a:p>
        </p:txBody>
      </p:sp>
      <p:sp>
        <p:nvSpPr>
          <p:cNvPr id="141" name="Approvals Note">
            <a:extLst>
              <a:ext uri="{FF2B5EF4-FFF2-40B4-BE49-F238E27FC236}">
                <a16:creationId xmlns:a16="http://schemas.microsoft.com/office/drawing/2014/main" id="{11713F13-0402-480A-8AF6-AF5592EE352A}"/>
              </a:ext>
            </a:extLst>
          </p:cNvPr>
          <p:cNvSpPr txBox="1"/>
          <p:nvPr/>
        </p:nvSpPr>
        <p:spPr>
          <a:xfrm>
            <a:off x="411480" y="6144360"/>
            <a:ext cx="59249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rovals and purchases are not a direct 1:1 correlation, as one merchant could purchase multiple devices</a:t>
            </a:r>
          </a:p>
        </p:txBody>
      </p:sp>
      <p:pic>
        <p:nvPicPr>
          <p:cNvPr id="142" name="Picture 81" descr="Image result for firstdata statio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325" y="1791327"/>
            <a:ext cx="652136" cy="35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Rectangle 14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1871105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A</a:t>
            </a:r>
          </a:p>
        </p:txBody>
      </p:sp>
      <p:pic>
        <p:nvPicPr>
          <p:cNvPr id="144" name="Picture 79" descr="Related image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7" t="14007" r="16013" b="7100"/>
          <a:stretch/>
        </p:blipFill>
        <p:spPr bwMode="auto">
          <a:xfrm>
            <a:off x="647324" y="2542025"/>
            <a:ext cx="812138" cy="399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5" name="Rectangle 14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2616160"/>
            <a:ext cx="46968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B</a:t>
            </a:r>
          </a:p>
        </p:txBody>
      </p:sp>
      <p:pic>
        <p:nvPicPr>
          <p:cNvPr id="146" name="Picture 77" descr="Image result for firstdata flex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55" r="27523" b="10288"/>
          <a:stretch/>
        </p:blipFill>
        <p:spPr bwMode="auto">
          <a:xfrm rot="20670894">
            <a:off x="854350" y="3257237"/>
            <a:ext cx="398086" cy="45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7" name="Rectangle 14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3361215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C</a:t>
            </a:r>
          </a:p>
        </p:txBody>
      </p:sp>
      <p:pic>
        <p:nvPicPr>
          <p:cNvPr id="148" name="Picture 75" descr="Related image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82" r="18313" b="8735"/>
          <a:stretch/>
        </p:blipFill>
        <p:spPr bwMode="auto">
          <a:xfrm>
            <a:off x="810577" y="3987067"/>
            <a:ext cx="485632" cy="407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Rectangle 14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4106270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D</a:t>
            </a:r>
          </a:p>
        </p:txBody>
      </p:sp>
      <p:pic>
        <p:nvPicPr>
          <p:cNvPr id="154" name="Picture 153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1" t="-4997" r="18473" b="-2"/>
          <a:stretch/>
        </p:blipFill>
        <p:spPr>
          <a:xfrm>
            <a:off x="655827" y="4671392"/>
            <a:ext cx="795131" cy="587998"/>
          </a:xfrm>
          <a:prstGeom prst="rect">
            <a:avLst/>
          </a:prstGeom>
        </p:spPr>
      </p:pic>
      <p:sp>
        <p:nvSpPr>
          <p:cNvPr id="155" name="Rectangle 15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4851325"/>
            <a:ext cx="496033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A 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5511743"/>
            <a:ext cx="46968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E</a:t>
            </a:r>
          </a:p>
        </p:txBody>
      </p:sp>
      <p:pic>
        <p:nvPicPr>
          <p:cNvPr id="157" name="Picture 15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37" y="5472576"/>
            <a:ext cx="665512" cy="458598"/>
          </a:xfrm>
          <a:prstGeom prst="rect">
            <a:avLst/>
          </a:prstGeom>
        </p:spPr>
      </p:pic>
      <p:sp>
        <p:nvSpPr>
          <p:cNvPr id="165" name="TextBox 164"/>
          <p:cNvSpPr txBox="1"/>
          <p:nvPr/>
        </p:nvSpPr>
        <p:spPr>
          <a:xfrm>
            <a:off x="5254966" y="1333890"/>
            <a:ext cx="98318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o cart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3178238" y="1333890"/>
            <a:ext cx="86902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ews</a:t>
            </a:r>
          </a:p>
        </p:txBody>
      </p:sp>
      <p:sp>
        <p:nvSpPr>
          <p:cNvPr id="349" name="Freeform 12"/>
          <p:cNvSpPr>
            <a:spLocks/>
          </p:cNvSpPr>
          <p:nvPr/>
        </p:nvSpPr>
        <p:spPr bwMode="auto">
          <a:xfrm>
            <a:off x="5587727" y="1038172"/>
            <a:ext cx="307978" cy="171450"/>
          </a:xfrm>
          <a:custGeom>
            <a:avLst/>
            <a:gdLst>
              <a:gd name="T0" fmla="*/ 0 w 79"/>
              <a:gd name="T1" fmla="*/ 0 h 44"/>
              <a:gd name="T2" fmla="*/ 74 w 79"/>
              <a:gd name="T3" fmla="*/ 0 h 44"/>
              <a:gd name="T4" fmla="*/ 78 w 79"/>
              <a:gd name="T5" fmla="*/ 2 h 44"/>
              <a:gd name="T6" fmla="*/ 78 w 79"/>
              <a:gd name="T7" fmla="*/ 5 h 44"/>
              <a:gd name="T8" fmla="*/ 70 w 79"/>
              <a:gd name="T9" fmla="*/ 35 h 44"/>
              <a:gd name="T10" fmla="*/ 58 w 79"/>
              <a:gd name="T11" fmla="*/ 44 h 44"/>
              <a:gd name="T12" fmla="*/ 9 w 79"/>
              <a:gd name="T13" fmla="*/ 4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9" h="44">
                <a:moveTo>
                  <a:pt x="0" y="0"/>
                </a:move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7" y="1"/>
                  <a:pt x="78" y="2"/>
                </a:cubicBezTo>
                <a:cubicBezTo>
                  <a:pt x="78" y="3"/>
                  <a:pt x="79" y="4"/>
                  <a:pt x="78" y="5"/>
                </a:cubicBezTo>
                <a:cubicBezTo>
                  <a:pt x="70" y="35"/>
                  <a:pt x="70" y="35"/>
                  <a:pt x="70" y="35"/>
                </a:cubicBezTo>
                <a:cubicBezTo>
                  <a:pt x="69" y="40"/>
                  <a:pt x="64" y="44"/>
                  <a:pt x="58" y="44"/>
                </a:cubicBezTo>
                <a:cubicBezTo>
                  <a:pt x="9" y="44"/>
                  <a:pt x="9" y="44"/>
                  <a:pt x="9" y="44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0" name="Freeform 13"/>
          <p:cNvSpPr>
            <a:spLocks/>
          </p:cNvSpPr>
          <p:nvPr/>
        </p:nvSpPr>
        <p:spPr bwMode="auto">
          <a:xfrm>
            <a:off x="5540102" y="958797"/>
            <a:ext cx="296865" cy="296863"/>
          </a:xfrm>
          <a:custGeom>
            <a:avLst/>
            <a:gdLst>
              <a:gd name="T0" fmla="*/ 0 w 76"/>
              <a:gd name="T1" fmla="*/ 0 h 76"/>
              <a:gd name="T2" fmla="*/ 1 w 76"/>
              <a:gd name="T3" fmla="*/ 0 h 76"/>
              <a:gd name="T4" fmla="*/ 9 w 76"/>
              <a:gd name="T5" fmla="*/ 6 h 76"/>
              <a:gd name="T6" fmla="*/ 22 w 76"/>
              <a:gd name="T7" fmla="*/ 70 h 76"/>
              <a:gd name="T8" fmla="*/ 30 w 76"/>
              <a:gd name="T9" fmla="*/ 76 h 76"/>
              <a:gd name="T10" fmla="*/ 76 w 76"/>
              <a:gd name="T11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6" h="76">
                <a:moveTo>
                  <a:pt x="0" y="0"/>
                </a:moveTo>
                <a:cubicBezTo>
                  <a:pt x="1" y="0"/>
                  <a:pt x="1" y="0"/>
                  <a:pt x="1" y="0"/>
                </a:cubicBezTo>
                <a:cubicBezTo>
                  <a:pt x="5" y="0"/>
                  <a:pt x="8" y="3"/>
                  <a:pt x="9" y="6"/>
                </a:cubicBezTo>
                <a:cubicBezTo>
                  <a:pt x="22" y="70"/>
                  <a:pt x="22" y="70"/>
                  <a:pt x="22" y="70"/>
                </a:cubicBezTo>
                <a:cubicBezTo>
                  <a:pt x="23" y="73"/>
                  <a:pt x="26" y="76"/>
                  <a:pt x="30" y="76"/>
                </a:cubicBezTo>
                <a:cubicBezTo>
                  <a:pt x="76" y="76"/>
                  <a:pt x="76" y="76"/>
                  <a:pt x="76" y="76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1" name="Oval 14"/>
          <p:cNvSpPr>
            <a:spLocks noChangeArrowheads="1"/>
          </p:cNvSpPr>
          <p:nvPr/>
        </p:nvSpPr>
        <p:spPr bwMode="auto">
          <a:xfrm>
            <a:off x="5625828" y="1271535"/>
            <a:ext cx="47625" cy="47625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2" name="Oval 15"/>
          <p:cNvSpPr>
            <a:spLocks noChangeArrowheads="1"/>
          </p:cNvSpPr>
          <p:nvPr/>
        </p:nvSpPr>
        <p:spPr bwMode="auto">
          <a:xfrm>
            <a:off x="5782992" y="1271535"/>
            <a:ext cx="46038" cy="47625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6" name="Freeform 345"/>
          <p:cNvSpPr>
            <a:spLocks/>
          </p:cNvSpPr>
          <p:nvPr/>
        </p:nvSpPr>
        <p:spPr bwMode="auto">
          <a:xfrm>
            <a:off x="7714076" y="1068335"/>
            <a:ext cx="352425" cy="250825"/>
          </a:xfrm>
          <a:custGeom>
            <a:avLst/>
            <a:gdLst>
              <a:gd name="T0" fmla="*/ 77 w 90"/>
              <a:gd name="T1" fmla="*/ 64 h 64"/>
              <a:gd name="T2" fmla="*/ 13 w 90"/>
              <a:gd name="T3" fmla="*/ 64 h 64"/>
              <a:gd name="T4" fmla="*/ 4 w 90"/>
              <a:gd name="T5" fmla="*/ 60 h 64"/>
              <a:gd name="T6" fmla="*/ 1 w 90"/>
              <a:gd name="T7" fmla="*/ 51 h 64"/>
              <a:gd name="T8" fmla="*/ 7 w 90"/>
              <a:gd name="T9" fmla="*/ 0 h 64"/>
              <a:gd name="T10" fmla="*/ 83 w 90"/>
              <a:gd name="T11" fmla="*/ 0 h 64"/>
              <a:gd name="T12" fmla="*/ 89 w 90"/>
              <a:gd name="T13" fmla="*/ 51 h 64"/>
              <a:gd name="T14" fmla="*/ 86 w 90"/>
              <a:gd name="T15" fmla="*/ 60 h 64"/>
              <a:gd name="T16" fmla="*/ 77 w 90"/>
              <a:gd name="T17" fmla="*/ 6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0" h="64">
                <a:moveTo>
                  <a:pt x="77" y="64"/>
                </a:moveTo>
                <a:cubicBezTo>
                  <a:pt x="13" y="64"/>
                  <a:pt x="13" y="64"/>
                  <a:pt x="13" y="64"/>
                </a:cubicBezTo>
                <a:cubicBezTo>
                  <a:pt x="9" y="64"/>
                  <a:pt x="6" y="63"/>
                  <a:pt x="4" y="60"/>
                </a:cubicBezTo>
                <a:cubicBezTo>
                  <a:pt x="1" y="57"/>
                  <a:pt x="0" y="54"/>
                  <a:pt x="1" y="51"/>
                </a:cubicBezTo>
                <a:cubicBezTo>
                  <a:pt x="7" y="0"/>
                  <a:pt x="7" y="0"/>
                  <a:pt x="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9" y="51"/>
                  <a:pt x="89" y="51"/>
                  <a:pt x="89" y="51"/>
                </a:cubicBezTo>
                <a:cubicBezTo>
                  <a:pt x="90" y="54"/>
                  <a:pt x="89" y="57"/>
                  <a:pt x="86" y="60"/>
                </a:cubicBezTo>
                <a:cubicBezTo>
                  <a:pt x="84" y="63"/>
                  <a:pt x="81" y="64"/>
                  <a:pt x="77" y="64"/>
                </a:cubicBezTo>
                <a:close/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7" name="Freeform 346"/>
          <p:cNvSpPr>
            <a:spLocks/>
          </p:cNvSpPr>
          <p:nvPr/>
        </p:nvSpPr>
        <p:spPr bwMode="auto">
          <a:xfrm>
            <a:off x="7741064" y="1030235"/>
            <a:ext cx="298450" cy="38100"/>
          </a:xfrm>
          <a:custGeom>
            <a:avLst/>
            <a:gdLst>
              <a:gd name="T0" fmla="*/ 14 w 76"/>
              <a:gd name="T1" fmla="*/ 0 h 10"/>
              <a:gd name="T2" fmla="*/ 8 w 76"/>
              <a:gd name="T3" fmla="*/ 0 h 10"/>
              <a:gd name="T4" fmla="*/ 5 w 76"/>
              <a:gd name="T5" fmla="*/ 2 h 10"/>
              <a:gd name="T6" fmla="*/ 0 w 76"/>
              <a:gd name="T7" fmla="*/ 10 h 10"/>
              <a:gd name="T8" fmla="*/ 76 w 76"/>
              <a:gd name="T9" fmla="*/ 10 h 10"/>
              <a:gd name="T10" fmla="*/ 71 w 76"/>
              <a:gd name="T11" fmla="*/ 2 h 10"/>
              <a:gd name="T12" fmla="*/ 68 w 76"/>
              <a:gd name="T13" fmla="*/ 0 h 10"/>
              <a:gd name="T14" fmla="*/ 62 w 76"/>
              <a:gd name="T15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" h="10">
                <a:moveTo>
                  <a:pt x="14" y="0"/>
                </a:moveTo>
                <a:cubicBezTo>
                  <a:pt x="8" y="0"/>
                  <a:pt x="8" y="0"/>
                  <a:pt x="8" y="0"/>
                </a:cubicBezTo>
                <a:cubicBezTo>
                  <a:pt x="7" y="0"/>
                  <a:pt x="6" y="1"/>
                  <a:pt x="5" y="2"/>
                </a:cubicBezTo>
                <a:cubicBezTo>
                  <a:pt x="0" y="10"/>
                  <a:pt x="0" y="10"/>
                  <a:pt x="0" y="10"/>
                </a:cubicBezTo>
                <a:cubicBezTo>
                  <a:pt x="76" y="10"/>
                  <a:pt x="76" y="10"/>
                  <a:pt x="76" y="10"/>
                </a:cubicBezTo>
                <a:cubicBezTo>
                  <a:pt x="71" y="2"/>
                  <a:pt x="71" y="2"/>
                  <a:pt x="71" y="2"/>
                </a:cubicBezTo>
                <a:cubicBezTo>
                  <a:pt x="70" y="1"/>
                  <a:pt x="69" y="0"/>
                  <a:pt x="68" y="0"/>
                </a:cubicBezTo>
                <a:cubicBezTo>
                  <a:pt x="62" y="0"/>
                  <a:pt x="62" y="0"/>
                  <a:pt x="62" y="0"/>
                </a:cubicBezTo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8" name="Freeform 347"/>
          <p:cNvSpPr>
            <a:spLocks/>
          </p:cNvSpPr>
          <p:nvPr/>
        </p:nvSpPr>
        <p:spPr bwMode="auto">
          <a:xfrm>
            <a:off x="7828376" y="958797"/>
            <a:ext cx="123825" cy="109538"/>
          </a:xfrm>
          <a:custGeom>
            <a:avLst/>
            <a:gdLst>
              <a:gd name="T0" fmla="*/ 32 w 32"/>
              <a:gd name="T1" fmla="*/ 16 h 28"/>
              <a:gd name="T2" fmla="*/ 16 w 32"/>
              <a:gd name="T3" fmla="*/ 0 h 28"/>
              <a:gd name="T4" fmla="*/ 0 w 32"/>
              <a:gd name="T5" fmla="*/ 16 h 28"/>
              <a:gd name="T6" fmla="*/ 0 w 32"/>
              <a:gd name="T7" fmla="*/ 28 h 28"/>
              <a:gd name="T8" fmla="*/ 32 w 32"/>
              <a:gd name="T9" fmla="*/ 28 h 28"/>
              <a:gd name="T10" fmla="*/ 32 w 32"/>
              <a:gd name="T11" fmla="*/ 1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" h="28">
                <a:moveTo>
                  <a:pt x="32" y="16"/>
                </a:moveTo>
                <a:cubicBezTo>
                  <a:pt x="32" y="7"/>
                  <a:pt x="25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28"/>
                  <a:pt x="0" y="28"/>
                  <a:pt x="0" y="28"/>
                </a:cubicBezTo>
                <a:cubicBezTo>
                  <a:pt x="32" y="28"/>
                  <a:pt x="32" y="28"/>
                  <a:pt x="32" y="28"/>
                </a:cubicBezTo>
                <a:lnTo>
                  <a:pt x="32" y="16"/>
                </a:lnTo>
                <a:close/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9" name="Freeform 260">
            <a:extLst>
              <a:ext uri="{FF2B5EF4-FFF2-40B4-BE49-F238E27FC236}">
                <a16:creationId xmlns:a16="http://schemas.microsoft.com/office/drawing/2014/main" id="{BE7CBB2B-BA7E-4B43-AE24-6AE8498D2475}"/>
              </a:ext>
            </a:extLst>
          </p:cNvPr>
          <p:cNvSpPr>
            <a:spLocks/>
          </p:cNvSpPr>
          <p:nvPr/>
        </p:nvSpPr>
        <p:spPr bwMode="auto">
          <a:xfrm>
            <a:off x="3458035" y="990547"/>
            <a:ext cx="38100" cy="39687"/>
          </a:xfrm>
          <a:custGeom>
            <a:avLst/>
            <a:gdLst>
              <a:gd name="T0" fmla="*/ 0 w 12"/>
              <a:gd name="T1" fmla="*/ 12 h 12"/>
              <a:gd name="T2" fmla="*/ 0 w 12"/>
              <a:gd name="T3" fmla="*/ 4 h 12"/>
              <a:gd name="T4" fmla="*/ 4 w 12"/>
              <a:gd name="T5" fmla="*/ 0 h 12"/>
              <a:gd name="T6" fmla="*/ 12 w 12"/>
              <a:gd name="T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0" y="12"/>
                </a:move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2" y="0"/>
                  <a:pt x="12" y="0"/>
                  <a:pt x="12" y="0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Freeform 261">
            <a:extLst>
              <a:ext uri="{FF2B5EF4-FFF2-40B4-BE49-F238E27FC236}">
                <a16:creationId xmlns:a16="http://schemas.microsoft.com/office/drawing/2014/main" id="{E8CDB7AD-4195-48B7-962A-4D2314A1FA89}"/>
              </a:ext>
            </a:extLst>
          </p:cNvPr>
          <p:cNvSpPr>
            <a:spLocks/>
          </p:cNvSpPr>
          <p:nvPr/>
        </p:nvSpPr>
        <p:spPr bwMode="auto">
          <a:xfrm>
            <a:off x="3716798" y="990547"/>
            <a:ext cx="39688" cy="39687"/>
          </a:xfrm>
          <a:custGeom>
            <a:avLst/>
            <a:gdLst>
              <a:gd name="T0" fmla="*/ 12 w 12"/>
              <a:gd name="T1" fmla="*/ 12 h 12"/>
              <a:gd name="T2" fmla="*/ 12 w 12"/>
              <a:gd name="T3" fmla="*/ 4 h 12"/>
              <a:gd name="T4" fmla="*/ 8 w 12"/>
              <a:gd name="T5" fmla="*/ 0 h 12"/>
              <a:gd name="T6" fmla="*/ 0 w 12"/>
              <a:gd name="T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12" y="12"/>
                </a:moveTo>
                <a:cubicBezTo>
                  <a:pt x="12" y="4"/>
                  <a:pt x="12" y="4"/>
                  <a:pt x="12" y="4"/>
                </a:cubicBezTo>
                <a:cubicBezTo>
                  <a:pt x="12" y="2"/>
                  <a:pt x="10" y="0"/>
                  <a:pt x="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Freeform 262">
            <a:extLst>
              <a:ext uri="{FF2B5EF4-FFF2-40B4-BE49-F238E27FC236}">
                <a16:creationId xmlns:a16="http://schemas.microsoft.com/office/drawing/2014/main" id="{6894E76D-10F8-4615-8EA0-826DB1913F97}"/>
              </a:ext>
            </a:extLst>
          </p:cNvPr>
          <p:cNvSpPr>
            <a:spLocks/>
          </p:cNvSpPr>
          <p:nvPr/>
        </p:nvSpPr>
        <p:spPr bwMode="auto">
          <a:xfrm>
            <a:off x="3458035" y="1249309"/>
            <a:ext cx="38100" cy="38100"/>
          </a:xfrm>
          <a:custGeom>
            <a:avLst/>
            <a:gdLst>
              <a:gd name="T0" fmla="*/ 0 w 12"/>
              <a:gd name="T1" fmla="*/ 0 h 12"/>
              <a:gd name="T2" fmla="*/ 0 w 12"/>
              <a:gd name="T3" fmla="*/ 8 h 12"/>
              <a:gd name="T4" fmla="*/ 4 w 12"/>
              <a:gd name="T5" fmla="*/ 12 h 12"/>
              <a:gd name="T6" fmla="*/ 12 w 1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0" y="0"/>
                </a:moveTo>
                <a:cubicBezTo>
                  <a:pt x="0" y="8"/>
                  <a:pt x="0" y="8"/>
                  <a:pt x="0" y="8"/>
                </a:cubicBezTo>
                <a:cubicBezTo>
                  <a:pt x="0" y="10"/>
                  <a:pt x="2" y="12"/>
                  <a:pt x="4" y="12"/>
                </a:cubicBezTo>
                <a:cubicBezTo>
                  <a:pt x="12" y="12"/>
                  <a:pt x="12" y="12"/>
                  <a:pt x="12" y="12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Freeform 263">
            <a:extLst>
              <a:ext uri="{FF2B5EF4-FFF2-40B4-BE49-F238E27FC236}">
                <a16:creationId xmlns:a16="http://schemas.microsoft.com/office/drawing/2014/main" id="{B210F6D3-422D-404D-8B51-D1B5F74BB7A4}"/>
              </a:ext>
            </a:extLst>
          </p:cNvPr>
          <p:cNvSpPr>
            <a:spLocks/>
          </p:cNvSpPr>
          <p:nvPr/>
        </p:nvSpPr>
        <p:spPr bwMode="auto">
          <a:xfrm>
            <a:off x="3716798" y="1249309"/>
            <a:ext cx="39688" cy="38100"/>
          </a:xfrm>
          <a:custGeom>
            <a:avLst/>
            <a:gdLst>
              <a:gd name="T0" fmla="*/ 12 w 12"/>
              <a:gd name="T1" fmla="*/ 0 h 12"/>
              <a:gd name="T2" fmla="*/ 12 w 12"/>
              <a:gd name="T3" fmla="*/ 8 h 12"/>
              <a:gd name="T4" fmla="*/ 8 w 12"/>
              <a:gd name="T5" fmla="*/ 12 h 12"/>
              <a:gd name="T6" fmla="*/ 0 w 1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12" y="0"/>
                </a:moveTo>
                <a:cubicBezTo>
                  <a:pt x="12" y="8"/>
                  <a:pt x="12" y="8"/>
                  <a:pt x="12" y="8"/>
                </a:cubicBezTo>
                <a:cubicBezTo>
                  <a:pt x="12" y="10"/>
                  <a:pt x="10" y="12"/>
                  <a:pt x="8" y="12"/>
                </a:cubicBezTo>
                <a:cubicBezTo>
                  <a:pt x="0" y="12"/>
                  <a:pt x="0" y="12"/>
                  <a:pt x="0" y="12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Oval 264">
            <a:extLst>
              <a:ext uri="{FF2B5EF4-FFF2-40B4-BE49-F238E27FC236}">
                <a16:creationId xmlns:a16="http://schemas.microsoft.com/office/drawing/2014/main" id="{C1441970-5706-442E-AA32-7157D55C8D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1223" y="1093734"/>
            <a:ext cx="90488" cy="90487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Oval 265">
            <a:extLst>
              <a:ext uri="{FF2B5EF4-FFF2-40B4-BE49-F238E27FC236}">
                <a16:creationId xmlns:a16="http://schemas.microsoft.com/office/drawing/2014/main" id="{FC8CAA09-614B-4A1D-95A0-F2482C7477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4085" y="1136597"/>
            <a:ext cx="6350" cy="6350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Oval 266">
            <a:extLst>
              <a:ext uri="{FF2B5EF4-FFF2-40B4-BE49-F238E27FC236}">
                <a16:creationId xmlns:a16="http://schemas.microsoft.com/office/drawing/2014/main" id="{AD77BBAE-E74E-45FF-8636-B89D459134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0260" y="1061984"/>
            <a:ext cx="254000" cy="153987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" name="TextBox 169"/>
          <p:cNvSpPr txBox="1"/>
          <p:nvPr/>
        </p:nvSpPr>
        <p:spPr>
          <a:xfrm>
            <a:off x="7077452" y="1363674"/>
            <a:ext cx="178855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urchase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165840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7" name="txt_station_views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3%</a:t>
            </a:r>
          </a:p>
        </p:txBody>
      </p:sp>
      <p:sp>
        <p:nvSpPr>
          <p:cNvPr id="338" name="txt_station_views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196239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4,794)</a:t>
            </a: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165840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34" name="txt_add_to_cart_station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4%</a:t>
            </a:r>
          </a:p>
        </p:txBody>
      </p:sp>
      <p:sp>
        <p:nvSpPr>
          <p:cNvPr id="335" name="txt_add_to_cart_station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196239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6,254)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165840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1" name="txt_device_station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9%</a:t>
            </a:r>
          </a:p>
        </p:txBody>
      </p:sp>
      <p:sp>
        <p:nvSpPr>
          <p:cNvPr id="332" name="txt_device_station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196239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5,789)</a:t>
            </a: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2403458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25" name="txt_mini_views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0%</a:t>
            </a:r>
          </a:p>
        </p:txBody>
      </p:sp>
      <p:sp>
        <p:nvSpPr>
          <p:cNvPr id="326" name="txt_mini_views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270744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4,328)</a:t>
            </a: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2403458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22" name="txt_add_to_cart_mini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0%</a:t>
            </a:r>
          </a:p>
        </p:txBody>
      </p:sp>
      <p:sp>
        <p:nvSpPr>
          <p:cNvPr id="323" name="txt_add_to_cart_mini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270744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5,738)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2403458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9" name="txt_device_mini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0%</a:t>
            </a:r>
          </a:p>
        </p:txBody>
      </p:sp>
      <p:sp>
        <p:nvSpPr>
          <p:cNvPr id="320" name="txt_device_mini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270744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5,862)</a:t>
            </a: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314851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3" name="txt_flex_views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9%</a:t>
            </a:r>
          </a:p>
        </p:txBody>
      </p:sp>
      <p:sp>
        <p:nvSpPr>
          <p:cNvPr id="314" name="txt_flex_views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345250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7,192)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314851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10" name="txt_add_to_cart_flex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5%</a:t>
            </a:r>
          </a:p>
        </p:txBody>
      </p:sp>
      <p:sp>
        <p:nvSpPr>
          <p:cNvPr id="311" name="txt_add_to_cart_flex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345250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4,969)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314851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7" name="txt_device_flex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8%</a:t>
            </a:r>
          </a:p>
        </p:txBody>
      </p:sp>
      <p:sp>
        <p:nvSpPr>
          <p:cNvPr id="308" name="txt_device_flex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345250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4,143)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3893568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1" name="txt_go_views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0%</a:t>
            </a:r>
          </a:p>
        </p:txBody>
      </p:sp>
      <p:sp>
        <p:nvSpPr>
          <p:cNvPr id="302" name="txt_go_views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419755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5,878)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3893568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98" name="txt_add_to_cart_go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1%</a:t>
            </a:r>
          </a:p>
        </p:txBody>
      </p:sp>
      <p:sp>
        <p:nvSpPr>
          <p:cNvPr id="299" name="txt_add_to_cart_go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419755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4,267)</a:t>
            </a: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3893568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5" name="txt_device_clover_go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8%</a:t>
            </a:r>
          </a:p>
        </p:txBody>
      </p:sp>
      <p:sp>
        <p:nvSpPr>
          <p:cNvPr id="296" name="txt_device_clover_go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419755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5,626)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463862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9" name="txt_station_pro_views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9%</a:t>
            </a:r>
          </a:p>
        </p:txBody>
      </p:sp>
      <p:sp>
        <p:nvSpPr>
          <p:cNvPr id="290" name="txt_station_pro_views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494261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4,093)</a:t>
            </a: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463862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86" name="txt_add_to_cart_station_pro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3%</a:t>
            </a:r>
          </a:p>
        </p:txBody>
      </p:sp>
      <p:sp>
        <p:nvSpPr>
          <p:cNvPr id="287" name="txt_add_to_cart_station_pro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494261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4,683)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463862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3" name="txt_device_stationpro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1%</a:t>
            </a:r>
          </a:p>
        </p:txBody>
      </p:sp>
      <p:sp>
        <p:nvSpPr>
          <p:cNvPr id="284" name="txt_device_stationpro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494261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6,131)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5383680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7" name="txt_account_only_views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9%</a:t>
            </a:r>
          </a:p>
        </p:txBody>
      </p:sp>
      <p:sp>
        <p:nvSpPr>
          <p:cNvPr id="188" name="txt_account_only_views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5687671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5,593)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5383680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84" name="txt_add_to_cart_account_only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N/A</a:t>
            </a:r>
          </a:p>
        </p:txBody>
      </p:sp>
      <p:sp>
        <p:nvSpPr>
          <p:cNvPr id="185" name="txt_add_to_cart_account_only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517307" y="5687671"/>
            <a:ext cx="595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N/A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5383680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1" name="txt_account_only_purchases_contrib_c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4%</a:t>
            </a:r>
          </a:p>
        </p:txBody>
      </p:sp>
      <p:sp>
        <p:nvSpPr>
          <p:cNvPr id="182" name="txt_account_only_purchases_c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5687671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4,974)</a:t>
            </a:r>
          </a:p>
        </p:txBody>
      </p:sp>
      <p:sp>
        <p:nvSpPr>
          <p:cNvPr id="359" name="Freeform 358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360" name="Rectangle 359">
            <a:hlinkClick r:id="rId12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361" name="Rectangle 360">
            <a:hlinkClick r:id="rId13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362" name="Rectangle 361">
            <a:hlinkClick r:id="rId14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363" name="Rectangle 362">
            <a:hlinkClick r:id="rId15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C</a:t>
            </a:r>
          </a:p>
        </p:txBody>
      </p:sp>
      <p:sp>
        <p:nvSpPr>
          <p:cNvPr id="364" name="Rectangle 363">
            <a:hlinkClick r:id="rId16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sp>
        <p:nvSpPr>
          <p:cNvPr id="103" name="Accounts Note">
            <a:extLst>
              <a:ext uri="{FF2B5EF4-FFF2-40B4-BE49-F238E27FC236}">
                <a16:creationId xmlns:a16="http://schemas.microsoft.com/office/drawing/2014/main" id="{78235C4D-E4D9-4315-9413-8B2DCC2918B6}"/>
              </a:ext>
            </a:extLst>
          </p:cNvPr>
          <p:cNvSpPr txBox="1"/>
          <p:nvPr/>
        </p:nvSpPr>
        <p:spPr>
          <a:xfrm>
            <a:off x="411480" y="6323189"/>
            <a:ext cx="59249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d to cart for Virtual will always be N/A due to unique purchase flow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617D5C5-413A-4EEB-A73B-3C04959E266F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65938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Rectangle 212">
            <a:extLst>
              <a:ext uri="{FF2B5EF4-FFF2-40B4-BE49-F238E27FC236}">
                <a16:creationId xmlns:a16="http://schemas.microsoft.com/office/drawing/2014/main" id="{E84E5A22-E6A9-4795-81AE-FB95C15FF0AE}"/>
              </a:ext>
            </a:extLst>
          </p:cNvPr>
          <p:cNvSpPr/>
          <p:nvPr/>
        </p:nvSpPr>
        <p:spPr>
          <a:xfrm rot="5400000">
            <a:off x="8051336" y="2431050"/>
            <a:ext cx="5440077" cy="2368801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413220" y="211575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Executive Summar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1480" y="883274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ustomer Journey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0177925" y="1099441"/>
            <a:ext cx="160901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800"/>
              </a:spcBef>
            </a:pPr>
            <a:r>
              <a:rPr lang="en-US" dirty="0">
                <a:solidFill>
                  <a:schemeClr val="bg1"/>
                </a:solidFill>
              </a:rPr>
              <a:t>Key Insights</a:t>
            </a:r>
          </a:p>
        </p:txBody>
      </p:sp>
      <p:sp>
        <p:nvSpPr>
          <p:cNvPr id="89" name="summary_third_insight_nfi"/>
          <p:cNvSpPr txBox="1"/>
          <p:nvPr/>
        </p:nvSpPr>
        <p:spPr>
          <a:xfrm>
            <a:off x="9687600" y="4769933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1" name="focus_product_metric_nfi"/>
          <p:cNvSpPr txBox="1"/>
          <p:nvPr/>
        </p:nvSpPr>
        <p:spPr>
          <a:xfrm>
            <a:off x="9916000" y="4796440"/>
            <a:ext cx="183491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Focus on maintaining Product Purchase Rate for Prod C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summary_first_insight_nfi"/>
          <p:cNvSpPr txBox="1"/>
          <p:nvPr/>
        </p:nvSpPr>
        <p:spPr>
          <a:xfrm>
            <a:off x="9687600" y="1625797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86" name="summary_second_insight_nfi"/>
          <p:cNvSpPr txBox="1"/>
          <p:nvPr/>
        </p:nvSpPr>
        <p:spPr>
          <a:xfrm>
            <a:off x="9687600" y="3498879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84" name="focus_dropout_nfi"/>
          <p:cNvSpPr txBox="1"/>
          <p:nvPr/>
        </p:nvSpPr>
        <p:spPr>
          <a:xfrm>
            <a:off x="9920909" y="1652301"/>
            <a:ext cx="2034867" cy="14773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Group D has Visitor to Leads Ratio of 2.1% over time. It has not varied much and is 2.6% in May'21 vs. 2.6% in Apr'21 (*Monthly percentage calculations are 3 months rolling). Focus on improving Visitor to Leads Ratio</a:t>
            </a:r>
          </a:p>
        </p:txBody>
      </p:sp>
      <p:sp>
        <p:nvSpPr>
          <p:cNvPr id="87" name="focus_change_nfi"/>
          <p:cNvSpPr txBox="1"/>
          <p:nvPr/>
        </p:nvSpPr>
        <p:spPr>
          <a:xfrm>
            <a:off x="9916000" y="3538639"/>
            <a:ext cx="19968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Focus on improving Visitor to Leads Ratio. It is the lowest  (2.1%) among the  efficiency metric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518991" y="3461844"/>
            <a:ext cx="2393816" cy="1260361"/>
            <a:chOff x="9237442" y="3461844"/>
            <a:chExt cx="2667832" cy="1260361"/>
          </a:xfrm>
        </p:grpSpPr>
        <p:cxnSp>
          <p:nvCxnSpPr>
            <p:cNvPr id="95" name="Straight Connector 94"/>
            <p:cNvCxnSpPr/>
            <p:nvPr/>
          </p:nvCxnSpPr>
          <p:spPr>
            <a:xfrm>
              <a:off x="9237442" y="3461844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9265322" y="4722205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3" name="Freeform 152">
            <a:hlinkClick r:id="" action="ppaction://noaction"/>
          </p:cNvPr>
          <p:cNvSpPr>
            <a:spLocks/>
          </p:cNvSpPr>
          <p:nvPr/>
        </p:nvSpPr>
        <p:spPr bwMode="auto">
          <a:xfrm>
            <a:off x="1435798" y="4032210"/>
            <a:ext cx="1358126" cy="824610"/>
          </a:xfrm>
          <a:custGeom>
            <a:avLst/>
            <a:gdLst>
              <a:gd name="connsiteX0" fmla="*/ 0 w 1581150"/>
              <a:gd name="connsiteY0" fmla="*/ 0 h 816952"/>
              <a:gd name="connsiteX1" fmla="*/ 1579865 w 1581150"/>
              <a:gd name="connsiteY1" fmla="*/ 0 h 816952"/>
              <a:gd name="connsiteX2" fmla="*/ 1579171 w 1581150"/>
              <a:gd name="connsiteY2" fmla="*/ 1461 h 816952"/>
              <a:gd name="connsiteX3" fmla="*/ 1577138 w 1581150"/>
              <a:gd name="connsiteY3" fmla="*/ 5739 h 816952"/>
              <a:gd name="connsiteX4" fmla="*/ 1581150 w 1581150"/>
              <a:gd name="connsiteY4" fmla="*/ 5739 h 816952"/>
              <a:gd name="connsiteX5" fmla="*/ 1225625 w 1581150"/>
              <a:gd name="connsiteY5" fmla="*/ 816952 h 816952"/>
              <a:gd name="connsiteX6" fmla="*/ 355525 w 1581150"/>
              <a:gd name="connsiteY6" fmla="*/ 816952 h 816952"/>
              <a:gd name="connsiteX7" fmla="*/ 0 w 1581150"/>
              <a:gd name="connsiteY7" fmla="*/ 5739 h 816952"/>
              <a:gd name="connsiteX8" fmla="*/ 2727 w 1581150"/>
              <a:gd name="connsiteY8" fmla="*/ 5739 h 81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150" h="816952">
                <a:moveTo>
                  <a:pt x="0" y="0"/>
                </a:moveTo>
                <a:cubicBezTo>
                  <a:pt x="0" y="0"/>
                  <a:pt x="0" y="0"/>
                  <a:pt x="1579865" y="0"/>
                </a:cubicBezTo>
                <a:cubicBezTo>
                  <a:pt x="1579865" y="0"/>
                  <a:pt x="1579865" y="0"/>
                  <a:pt x="1579171" y="1461"/>
                </a:cubicBezTo>
                <a:lnTo>
                  <a:pt x="1577138" y="5739"/>
                </a:lnTo>
                <a:lnTo>
                  <a:pt x="1581150" y="5739"/>
                </a:lnTo>
                <a:cubicBezTo>
                  <a:pt x="1581150" y="5739"/>
                  <a:pt x="1581150" y="5739"/>
                  <a:pt x="1225625" y="816952"/>
                </a:cubicBezTo>
                <a:lnTo>
                  <a:pt x="355525" y="816952"/>
                </a:lnTo>
                <a:cubicBezTo>
                  <a:pt x="355525" y="816952"/>
                  <a:pt x="355525" y="816952"/>
                  <a:pt x="0" y="5739"/>
                </a:cubicBezTo>
                <a:lnTo>
                  <a:pt x="2727" y="573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54" name="Freeform 153"/>
          <p:cNvSpPr>
            <a:spLocks/>
          </p:cNvSpPr>
          <p:nvPr/>
        </p:nvSpPr>
        <p:spPr bwMode="auto">
          <a:xfrm>
            <a:off x="1104050" y="3206980"/>
            <a:ext cx="2021622" cy="925260"/>
          </a:xfrm>
          <a:custGeom>
            <a:avLst/>
            <a:gdLst>
              <a:gd name="connsiteX0" fmla="*/ 0 w 2353600"/>
              <a:gd name="connsiteY0" fmla="*/ 0 h 916666"/>
              <a:gd name="connsiteX1" fmla="*/ 2353600 w 2353600"/>
              <a:gd name="connsiteY1" fmla="*/ 0 h 916666"/>
              <a:gd name="connsiteX2" fmla="*/ 1966733 w 2353600"/>
              <a:gd name="connsiteY2" fmla="*/ 817567 h 916666"/>
              <a:gd name="connsiteX3" fmla="*/ 1240643 w 2353600"/>
              <a:gd name="connsiteY3" fmla="*/ 817567 h 916666"/>
              <a:gd name="connsiteX4" fmla="*/ 1177753 w 2353600"/>
              <a:gd name="connsiteY4" fmla="*/ 916666 h 916666"/>
              <a:gd name="connsiteX5" fmla="*/ 1177481 w 2353600"/>
              <a:gd name="connsiteY5" fmla="*/ 916224 h 916666"/>
              <a:gd name="connsiteX6" fmla="*/ 1177209 w 2353600"/>
              <a:gd name="connsiteY6" fmla="*/ 916666 h 916666"/>
              <a:gd name="connsiteX7" fmla="*/ 1114662 w 2353600"/>
              <a:gd name="connsiteY7" fmla="*/ 817567 h 916666"/>
              <a:gd name="connsiteX8" fmla="*/ 386867 w 2353600"/>
              <a:gd name="connsiteY8" fmla="*/ 817567 h 916666"/>
              <a:gd name="connsiteX9" fmla="*/ 386381 w 2353600"/>
              <a:gd name="connsiteY9" fmla="*/ 816539 h 916666"/>
              <a:gd name="connsiteX10" fmla="*/ 385055 w 2353600"/>
              <a:gd name="connsiteY10" fmla="*/ 816539 h 916666"/>
              <a:gd name="connsiteX11" fmla="*/ 0 w 2353600"/>
              <a:gd name="connsiteY11" fmla="*/ 2266 h 916666"/>
              <a:gd name="connsiteX12" fmla="*/ 1073 w 2353600"/>
              <a:gd name="connsiteY12" fmla="*/ 2266 h 91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53600" h="916666">
                <a:moveTo>
                  <a:pt x="0" y="0"/>
                </a:moveTo>
                <a:lnTo>
                  <a:pt x="2353600" y="0"/>
                </a:lnTo>
                <a:lnTo>
                  <a:pt x="1966733" y="817567"/>
                </a:lnTo>
                <a:lnTo>
                  <a:pt x="1240643" y="817567"/>
                </a:lnTo>
                <a:lnTo>
                  <a:pt x="1177753" y="916666"/>
                </a:lnTo>
                <a:lnTo>
                  <a:pt x="1177481" y="916224"/>
                </a:lnTo>
                <a:lnTo>
                  <a:pt x="1177209" y="916666"/>
                </a:lnTo>
                <a:lnTo>
                  <a:pt x="1114662" y="817567"/>
                </a:lnTo>
                <a:lnTo>
                  <a:pt x="386867" y="817567"/>
                </a:lnTo>
                <a:lnTo>
                  <a:pt x="386381" y="816539"/>
                </a:lnTo>
                <a:lnTo>
                  <a:pt x="385055" y="816539"/>
                </a:lnTo>
                <a:lnTo>
                  <a:pt x="0" y="2266"/>
                </a:lnTo>
                <a:lnTo>
                  <a:pt x="1073" y="2266"/>
                </a:lnTo>
                <a:close/>
              </a:path>
            </a:pathLst>
          </a:custGeom>
          <a:solidFill>
            <a:srgbClr val="9B9B9B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55" name="Freeform 154"/>
          <p:cNvSpPr>
            <a:spLocks/>
          </p:cNvSpPr>
          <p:nvPr/>
        </p:nvSpPr>
        <p:spPr bwMode="auto">
          <a:xfrm>
            <a:off x="775026" y="2381748"/>
            <a:ext cx="2679671" cy="932953"/>
          </a:xfrm>
          <a:custGeom>
            <a:avLst/>
            <a:gdLst>
              <a:gd name="T0" fmla="*/ 0 w 1637"/>
              <a:gd name="T1" fmla="*/ 0 h 485"/>
              <a:gd name="T2" fmla="*/ 201 w 1637"/>
              <a:gd name="T3" fmla="*/ 431 h 485"/>
              <a:gd name="T4" fmla="*/ 785 w 1637"/>
              <a:gd name="T5" fmla="*/ 431 h 485"/>
              <a:gd name="T6" fmla="*/ 820 w 1637"/>
              <a:gd name="T7" fmla="*/ 485 h 485"/>
              <a:gd name="T8" fmla="*/ 851 w 1637"/>
              <a:gd name="T9" fmla="*/ 431 h 485"/>
              <a:gd name="T10" fmla="*/ 1435 w 1637"/>
              <a:gd name="T11" fmla="*/ 431 h 485"/>
              <a:gd name="T12" fmla="*/ 1637 w 1637"/>
              <a:gd name="T13" fmla="*/ 0 h 485"/>
              <a:gd name="T14" fmla="*/ 0 w 1637"/>
              <a:gd name="T15" fmla="*/ 0 h 485"/>
              <a:gd name="T16" fmla="*/ 0 w 1637"/>
              <a:gd name="T17" fmla="*/ 0 h 485"/>
              <a:gd name="T18" fmla="*/ 0 w 1637"/>
              <a:gd name="T19" fmla="*/ 0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37" h="485">
                <a:moveTo>
                  <a:pt x="0" y="0"/>
                </a:moveTo>
                <a:lnTo>
                  <a:pt x="201" y="431"/>
                </a:lnTo>
                <a:lnTo>
                  <a:pt x="785" y="431"/>
                </a:lnTo>
                <a:lnTo>
                  <a:pt x="820" y="485"/>
                </a:lnTo>
                <a:lnTo>
                  <a:pt x="851" y="431"/>
                </a:lnTo>
                <a:lnTo>
                  <a:pt x="1435" y="431"/>
                </a:lnTo>
                <a:lnTo>
                  <a:pt x="1637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56" name="Freeform 155"/>
          <p:cNvSpPr>
            <a:spLocks/>
          </p:cNvSpPr>
          <p:nvPr/>
        </p:nvSpPr>
        <p:spPr bwMode="auto">
          <a:xfrm>
            <a:off x="441090" y="1558443"/>
            <a:ext cx="3347541" cy="925260"/>
          </a:xfrm>
          <a:custGeom>
            <a:avLst/>
            <a:gdLst>
              <a:gd name="T0" fmla="*/ 1250 w 1250"/>
              <a:gd name="T1" fmla="*/ 0 h 294"/>
              <a:gd name="T2" fmla="*/ 1126 w 1250"/>
              <a:gd name="T3" fmla="*/ 261 h 294"/>
              <a:gd name="T4" fmla="*/ 646 w 1250"/>
              <a:gd name="T5" fmla="*/ 261 h 294"/>
              <a:gd name="T6" fmla="*/ 626 w 1250"/>
              <a:gd name="T7" fmla="*/ 294 h 294"/>
              <a:gd name="T8" fmla="*/ 605 w 1250"/>
              <a:gd name="T9" fmla="*/ 261 h 294"/>
              <a:gd name="T10" fmla="*/ 125 w 1250"/>
              <a:gd name="T11" fmla="*/ 261 h 294"/>
              <a:gd name="T12" fmla="*/ 55 w 1250"/>
              <a:gd name="T13" fmla="*/ 115 h 294"/>
              <a:gd name="T14" fmla="*/ 55 w 1250"/>
              <a:gd name="T15" fmla="*/ 115 h 294"/>
              <a:gd name="T16" fmla="*/ 0 w 1250"/>
              <a:gd name="T17" fmla="*/ 0 h 294"/>
              <a:gd name="T18" fmla="*/ 135 w 1250"/>
              <a:gd name="T19" fmla="*/ 0 h 294"/>
              <a:gd name="T20" fmla="*/ 135 w 1250"/>
              <a:gd name="T21" fmla="*/ 0 h 294"/>
              <a:gd name="T22" fmla="*/ 626 w 1250"/>
              <a:gd name="T23" fmla="*/ 0 h 294"/>
              <a:gd name="T24" fmla="*/ 1095 w 1250"/>
              <a:gd name="T25" fmla="*/ 0 h 294"/>
              <a:gd name="T26" fmla="*/ 1095 w 1250"/>
              <a:gd name="T27" fmla="*/ 0 h 294"/>
              <a:gd name="T28" fmla="*/ 1250 w 1250"/>
              <a:gd name="T29" fmla="*/ 0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50" h="294">
                <a:moveTo>
                  <a:pt x="1250" y="0"/>
                </a:moveTo>
                <a:cubicBezTo>
                  <a:pt x="1126" y="261"/>
                  <a:pt x="1126" y="261"/>
                  <a:pt x="1126" y="261"/>
                </a:cubicBezTo>
                <a:cubicBezTo>
                  <a:pt x="646" y="261"/>
                  <a:pt x="646" y="261"/>
                  <a:pt x="646" y="261"/>
                </a:cubicBezTo>
                <a:cubicBezTo>
                  <a:pt x="646" y="261"/>
                  <a:pt x="646" y="261"/>
                  <a:pt x="626" y="294"/>
                </a:cubicBezTo>
                <a:cubicBezTo>
                  <a:pt x="626" y="294"/>
                  <a:pt x="626" y="294"/>
                  <a:pt x="605" y="261"/>
                </a:cubicBezTo>
                <a:cubicBezTo>
                  <a:pt x="605" y="261"/>
                  <a:pt x="605" y="261"/>
                  <a:pt x="125" y="261"/>
                </a:cubicBezTo>
                <a:cubicBezTo>
                  <a:pt x="125" y="261"/>
                  <a:pt x="124" y="261"/>
                  <a:pt x="55" y="115"/>
                </a:cubicBezTo>
                <a:cubicBezTo>
                  <a:pt x="55" y="115"/>
                  <a:pt x="55" y="115"/>
                  <a:pt x="55" y="115"/>
                </a:cubicBezTo>
                <a:cubicBezTo>
                  <a:pt x="0" y="0"/>
                  <a:pt x="0" y="0"/>
                  <a:pt x="0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626" y="0"/>
                  <a:pt x="626" y="0"/>
                  <a:pt x="626" y="0"/>
                </a:cubicBezTo>
                <a:cubicBezTo>
                  <a:pt x="626" y="0"/>
                  <a:pt x="626" y="0"/>
                  <a:pt x="1095" y="0"/>
                </a:cubicBezTo>
                <a:cubicBezTo>
                  <a:pt x="1095" y="0"/>
                  <a:pt x="1095" y="0"/>
                  <a:pt x="1095" y="0"/>
                </a:cubicBezTo>
                <a:lnTo>
                  <a:pt x="1250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/>
          </a:p>
        </p:txBody>
      </p:sp>
      <p:sp>
        <p:nvSpPr>
          <p:cNvPr id="158" name="txt_visitors_nfi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1988142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67,050</a:t>
            </a:r>
          </a:p>
        </p:txBody>
      </p:sp>
      <p:sp>
        <p:nvSpPr>
          <p:cNvPr id="163" name="Rectangle 162"/>
          <p:cNvSpPr/>
          <p:nvPr/>
        </p:nvSpPr>
        <p:spPr>
          <a:xfrm>
            <a:off x="1554969" y="1880590"/>
            <a:ext cx="1127387" cy="1812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/>
              <a:t>Visitors</a:t>
            </a:r>
          </a:p>
        </p:txBody>
      </p:sp>
      <p:grpSp>
        <p:nvGrpSpPr>
          <p:cNvPr id="161" name="Group 4"/>
          <p:cNvGrpSpPr>
            <a:grpSpLocks noChangeAspect="1"/>
          </p:cNvGrpSpPr>
          <p:nvPr/>
        </p:nvGrpSpPr>
        <p:grpSpPr bwMode="auto">
          <a:xfrm>
            <a:off x="1999625" y="4197511"/>
            <a:ext cx="230472" cy="212989"/>
            <a:chOff x="1229" y="3302"/>
            <a:chExt cx="196" cy="196"/>
          </a:xfrm>
        </p:grpSpPr>
        <p:sp>
          <p:nvSpPr>
            <p:cNvPr id="199" name="Oval 198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9" name="Freeform 168"/>
          <p:cNvSpPr>
            <a:spLocks noEditPoints="1"/>
          </p:cNvSpPr>
          <p:nvPr/>
        </p:nvSpPr>
        <p:spPr bwMode="auto">
          <a:xfrm>
            <a:off x="1997479" y="3368350"/>
            <a:ext cx="234764" cy="214325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70" name="Group 169"/>
          <p:cNvGrpSpPr/>
          <p:nvPr/>
        </p:nvGrpSpPr>
        <p:grpSpPr>
          <a:xfrm>
            <a:off x="1988371" y="2528651"/>
            <a:ext cx="252982" cy="232293"/>
            <a:chOff x="5972176" y="3303588"/>
            <a:chExt cx="247650" cy="246063"/>
          </a:xfrm>
        </p:grpSpPr>
        <p:sp>
          <p:nvSpPr>
            <p:cNvPr id="192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5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6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1" name="Group 8"/>
          <p:cNvGrpSpPr>
            <a:grpSpLocks noChangeAspect="1"/>
          </p:cNvGrpSpPr>
          <p:nvPr/>
        </p:nvGrpSpPr>
        <p:grpSpPr bwMode="auto">
          <a:xfrm>
            <a:off x="1963332" y="1708156"/>
            <a:ext cx="303057" cy="151212"/>
            <a:chOff x="264" y="1506"/>
            <a:chExt cx="213" cy="115"/>
          </a:xfrm>
        </p:grpSpPr>
        <p:sp>
          <p:nvSpPr>
            <p:cNvPr id="183" name="Oval 9"/>
            <p:cNvSpPr>
              <a:spLocks noChangeArrowheads="1"/>
            </p:cNvSpPr>
            <p:nvPr/>
          </p:nvSpPr>
          <p:spPr bwMode="auto">
            <a:xfrm>
              <a:off x="342" y="1506"/>
              <a:ext cx="57" cy="57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4" name="Freeform 10"/>
            <p:cNvSpPr>
              <a:spLocks/>
            </p:cNvSpPr>
            <p:nvPr/>
          </p:nvSpPr>
          <p:spPr bwMode="auto">
            <a:xfrm>
              <a:off x="324" y="1574"/>
              <a:ext cx="93" cy="47"/>
            </a:xfrm>
            <a:custGeom>
              <a:avLst/>
              <a:gdLst>
                <a:gd name="T0" fmla="*/ 0 w 56"/>
                <a:gd name="T1" fmla="*/ 28 h 28"/>
                <a:gd name="T2" fmla="*/ 28 w 56"/>
                <a:gd name="T3" fmla="*/ 0 h 28"/>
                <a:gd name="T4" fmla="*/ 56 w 56"/>
                <a:gd name="T5" fmla="*/ 28 h 28"/>
                <a:gd name="T6" fmla="*/ 0 w 56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28">
                  <a:moveTo>
                    <a:pt x="0" y="28"/>
                  </a:moveTo>
                  <a:cubicBezTo>
                    <a:pt x="0" y="13"/>
                    <a:pt x="13" y="0"/>
                    <a:pt x="28" y="0"/>
                  </a:cubicBezTo>
                  <a:cubicBezTo>
                    <a:pt x="44" y="0"/>
                    <a:pt x="56" y="13"/>
                    <a:pt x="56" y="28"/>
                  </a:cubicBezTo>
                  <a:lnTo>
                    <a:pt x="0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5" name="Freeform 11"/>
            <p:cNvSpPr>
              <a:spLocks/>
            </p:cNvSpPr>
            <p:nvPr/>
          </p:nvSpPr>
          <p:spPr bwMode="auto">
            <a:xfrm>
              <a:off x="424" y="1582"/>
              <a:ext cx="53" cy="39"/>
            </a:xfrm>
            <a:custGeom>
              <a:avLst/>
              <a:gdLst>
                <a:gd name="T0" fmla="*/ 4 w 32"/>
                <a:gd name="T1" fmla="*/ 23 h 23"/>
                <a:gd name="T2" fmla="*/ 32 w 32"/>
                <a:gd name="T3" fmla="*/ 23 h 23"/>
                <a:gd name="T4" fmla="*/ 22 w 32"/>
                <a:gd name="T5" fmla="*/ 5 h 23"/>
                <a:gd name="T6" fmla="*/ 0 w 32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3">
                  <a:moveTo>
                    <a:pt x="4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6"/>
                    <a:pt x="28" y="9"/>
                    <a:pt x="22" y="5"/>
                  </a:cubicBezTo>
                  <a:cubicBezTo>
                    <a:pt x="15" y="1"/>
                    <a:pt x="7" y="0"/>
                    <a:pt x="0" y="4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6" name="Oval 12"/>
            <p:cNvSpPr>
              <a:spLocks noChangeArrowheads="1"/>
            </p:cNvSpPr>
            <p:nvPr/>
          </p:nvSpPr>
          <p:spPr bwMode="auto">
            <a:xfrm>
              <a:off x="419" y="1530"/>
              <a:ext cx="43" cy="44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Freeform 13"/>
            <p:cNvSpPr>
              <a:spLocks/>
            </p:cNvSpPr>
            <p:nvPr/>
          </p:nvSpPr>
          <p:spPr bwMode="auto">
            <a:xfrm>
              <a:off x="264" y="1582"/>
              <a:ext cx="53" cy="39"/>
            </a:xfrm>
            <a:custGeom>
              <a:avLst/>
              <a:gdLst>
                <a:gd name="T0" fmla="*/ 28 w 32"/>
                <a:gd name="T1" fmla="*/ 23 h 23"/>
                <a:gd name="T2" fmla="*/ 0 w 32"/>
                <a:gd name="T3" fmla="*/ 23 h 23"/>
                <a:gd name="T4" fmla="*/ 10 w 32"/>
                <a:gd name="T5" fmla="*/ 5 h 23"/>
                <a:gd name="T6" fmla="*/ 32 w 32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3">
                  <a:moveTo>
                    <a:pt x="28" y="23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6"/>
                    <a:pt x="4" y="9"/>
                    <a:pt x="10" y="5"/>
                  </a:cubicBezTo>
                  <a:cubicBezTo>
                    <a:pt x="17" y="1"/>
                    <a:pt x="25" y="0"/>
                    <a:pt x="32" y="4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Oval 14"/>
            <p:cNvSpPr>
              <a:spLocks noChangeArrowheads="1"/>
            </p:cNvSpPr>
            <p:nvPr/>
          </p:nvSpPr>
          <p:spPr bwMode="auto">
            <a:xfrm>
              <a:off x="279" y="1530"/>
              <a:ext cx="43" cy="44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36" name="txt_leads_nfi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2875808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1,415</a:t>
            </a:r>
          </a:p>
        </p:txBody>
      </p:sp>
      <p:sp>
        <p:nvSpPr>
          <p:cNvPr id="337" name="Rectangle 336"/>
          <p:cNvSpPr/>
          <p:nvPr/>
        </p:nvSpPr>
        <p:spPr>
          <a:xfrm>
            <a:off x="1554969" y="2777755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eads</a:t>
            </a:r>
          </a:p>
        </p:txBody>
      </p:sp>
      <p:sp>
        <p:nvSpPr>
          <p:cNvPr id="338" name="txt_total_app_nfi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3698757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4,900</a:t>
            </a:r>
          </a:p>
        </p:txBody>
      </p:sp>
      <p:sp>
        <p:nvSpPr>
          <p:cNvPr id="339" name="Rectangle 338"/>
          <p:cNvSpPr/>
          <p:nvPr/>
        </p:nvSpPr>
        <p:spPr>
          <a:xfrm>
            <a:off x="1554969" y="3600703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pplications</a:t>
            </a:r>
          </a:p>
        </p:txBody>
      </p:sp>
      <p:sp>
        <p:nvSpPr>
          <p:cNvPr id="340" name="txt_tot_approved_nfi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4521061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1,709</a:t>
            </a:r>
          </a:p>
        </p:txBody>
      </p:sp>
      <p:sp>
        <p:nvSpPr>
          <p:cNvPr id="341" name="Rectangle 340"/>
          <p:cNvSpPr/>
          <p:nvPr/>
        </p:nvSpPr>
        <p:spPr>
          <a:xfrm>
            <a:off x="1554969" y="4423006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pprovals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506036" y="5165433"/>
            <a:ext cx="3573915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Efficiency Metrics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512917" y="5537615"/>
            <a:ext cx="121368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Visitor to Lead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344" name="txt_visitors_leads_nfi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1811432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.1%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3039172" y="5537615"/>
            <a:ext cx="1574052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ead to Application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348" name="txt_leads_applications_nfi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4690679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46.3%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5848714" y="5537615"/>
            <a:ext cx="1955688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Application to Approved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353" name="txt_application_approved_nfi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7861450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4.9%</a:t>
            </a:r>
          </a:p>
        </p:txBody>
      </p:sp>
      <p:cxnSp>
        <p:nvCxnSpPr>
          <p:cNvPr id="177" name="Straight Connector 176"/>
          <p:cNvCxnSpPr/>
          <p:nvPr/>
        </p:nvCxnSpPr>
        <p:spPr>
          <a:xfrm>
            <a:off x="506036" y="4994359"/>
            <a:ext cx="591783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2242DF8F-F73B-45A5-B4BD-76E50F196FE3}"/>
              </a:ext>
            </a:extLst>
          </p:cNvPr>
          <p:cNvSpPr txBox="1"/>
          <p:nvPr/>
        </p:nvSpPr>
        <p:spPr>
          <a:xfrm>
            <a:off x="446665" y="1282835"/>
            <a:ext cx="1446718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Overall Journey</a:t>
            </a:r>
          </a:p>
        </p:txBody>
      </p:sp>
      <p:sp>
        <p:nvSpPr>
          <p:cNvPr id="108" name="Data Note">
            <a:extLst>
              <a:ext uri="{FF2B5EF4-FFF2-40B4-BE49-F238E27FC236}">
                <a16:creationId xmlns:a16="http://schemas.microsoft.com/office/drawing/2014/main" id="{50188CE5-FF25-4AB0-95BF-696FB0881386}"/>
              </a:ext>
            </a:extLst>
          </p:cNvPr>
          <p:cNvSpPr txBox="1"/>
          <p:nvPr/>
        </p:nvSpPr>
        <p:spPr>
          <a:xfrm>
            <a:off x="411480" y="6144360"/>
            <a:ext cx="2231380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rgbClr val="000000"/>
                </a:solidFill>
              </a:rPr>
              <a:t>Note: The current period of analysis is 2021 YTD</a:t>
            </a:r>
          </a:p>
        </p:txBody>
      </p:sp>
      <p:sp>
        <p:nvSpPr>
          <p:cNvPr id="207" name="Freeform 206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208" name="Rectangle 207">
            <a:hlinkClick r:id="rId6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209" name="Rectangle 208">
            <a:hlinkClick r:id="rId7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210" name="Rectangle 209">
            <a:hlinkClick r:id="rId8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211" name="Rectangle 210">
            <a:hlinkClick r:id="rId9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212" name="Rectangle 211">
            <a:hlinkClick r:id="rId10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D</a:t>
            </a:r>
          </a:p>
        </p:txBody>
      </p:sp>
      <p:cxnSp>
        <p:nvCxnSpPr>
          <p:cNvPr id="99" name="Straight Connector 98"/>
          <p:cNvCxnSpPr>
            <a:cxnSpLocks/>
          </p:cNvCxnSpPr>
          <p:nvPr/>
        </p:nvCxnSpPr>
        <p:spPr>
          <a:xfrm flipH="1">
            <a:off x="3948430" y="3190064"/>
            <a:ext cx="475361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3941544" y="2039815"/>
            <a:ext cx="1694282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Self-Service Journey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3941544" y="3552593"/>
            <a:ext cx="178111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Rep-Assisted Journey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7922906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22" name="txt_self_service_approvals_nfi"/>
          <p:cNvSpPr/>
          <p:nvPr/>
        </p:nvSpPr>
        <p:spPr>
          <a:xfrm>
            <a:off x="7922906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,842</a:t>
            </a:r>
          </a:p>
        </p:txBody>
      </p:sp>
      <p:grpSp>
        <p:nvGrpSpPr>
          <p:cNvPr id="123" name="Group 4"/>
          <p:cNvGrpSpPr>
            <a:grpSpLocks noChangeAspect="1"/>
          </p:cNvGrpSpPr>
          <p:nvPr/>
        </p:nvGrpSpPr>
        <p:grpSpPr bwMode="auto">
          <a:xfrm>
            <a:off x="7524728" y="2458886"/>
            <a:ext cx="280673" cy="280673"/>
            <a:chOff x="1229" y="3302"/>
            <a:chExt cx="196" cy="196"/>
          </a:xfrm>
        </p:grpSpPr>
        <p:sp>
          <p:nvSpPr>
            <p:cNvPr id="124" name="Oval 123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7" name="Rectangle 116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6158739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18" name="txt_self_service_applications_nfi"/>
          <p:cNvSpPr/>
          <p:nvPr/>
        </p:nvSpPr>
        <p:spPr>
          <a:xfrm>
            <a:off x="6158739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5,306</a:t>
            </a:r>
          </a:p>
        </p:txBody>
      </p:sp>
      <p:sp>
        <p:nvSpPr>
          <p:cNvPr id="120" name="Freeform 119"/>
          <p:cNvSpPr>
            <a:spLocks noEditPoints="1"/>
          </p:cNvSpPr>
          <p:nvPr/>
        </p:nvSpPr>
        <p:spPr bwMode="auto">
          <a:xfrm>
            <a:off x="5755334" y="2455840"/>
            <a:ext cx="285900" cy="282433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rgbClr val="404040"/>
          </a:solidFill>
          <a:ln w="317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4389344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12" name="txt_self_service_leads_nfi"/>
          <p:cNvSpPr/>
          <p:nvPr/>
        </p:nvSpPr>
        <p:spPr>
          <a:xfrm>
            <a:off x="4389344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,676</a:t>
            </a:r>
          </a:p>
        </p:txBody>
      </p:sp>
      <p:grpSp>
        <p:nvGrpSpPr>
          <p:cNvPr id="113" name="Group 112"/>
          <p:cNvGrpSpPr/>
          <p:nvPr/>
        </p:nvGrpSpPr>
        <p:grpSpPr>
          <a:xfrm>
            <a:off x="3963754" y="2471116"/>
            <a:ext cx="308085" cy="306111"/>
            <a:chOff x="5972176" y="3303588"/>
            <a:chExt cx="247650" cy="246063"/>
          </a:xfrm>
        </p:grpSpPr>
        <p:sp>
          <p:nvSpPr>
            <p:cNvPr id="114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9" name="Rectangle 138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7922906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40" name="txt_rep_assisted_approvals_nfi"/>
          <p:cNvSpPr/>
          <p:nvPr/>
        </p:nvSpPr>
        <p:spPr>
          <a:xfrm>
            <a:off x="7922906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,817</a:t>
            </a:r>
          </a:p>
        </p:txBody>
      </p:sp>
      <p:grpSp>
        <p:nvGrpSpPr>
          <p:cNvPr id="141" name="Group 4"/>
          <p:cNvGrpSpPr>
            <a:grpSpLocks noChangeAspect="1"/>
          </p:cNvGrpSpPr>
          <p:nvPr/>
        </p:nvGrpSpPr>
        <p:grpSpPr bwMode="auto">
          <a:xfrm>
            <a:off x="7524728" y="3976340"/>
            <a:ext cx="280673" cy="280673"/>
            <a:chOff x="1229" y="3302"/>
            <a:chExt cx="196" cy="196"/>
          </a:xfrm>
        </p:grpSpPr>
        <p:sp>
          <p:nvSpPr>
            <p:cNvPr id="142" name="Oval 141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6" name="Rectangle 135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6158739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37" name="txt_rep_assisted_applications_nfi"/>
          <p:cNvSpPr/>
          <p:nvPr/>
        </p:nvSpPr>
        <p:spPr>
          <a:xfrm>
            <a:off x="6158739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4,667</a:t>
            </a:r>
          </a:p>
        </p:txBody>
      </p:sp>
      <p:sp>
        <p:nvSpPr>
          <p:cNvPr id="138" name="Freeform 137"/>
          <p:cNvSpPr>
            <a:spLocks noEditPoints="1"/>
          </p:cNvSpPr>
          <p:nvPr/>
        </p:nvSpPr>
        <p:spPr bwMode="auto">
          <a:xfrm>
            <a:off x="5755334" y="3973294"/>
            <a:ext cx="285900" cy="282433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rgbClr val="404040"/>
          </a:solidFill>
          <a:ln w="317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4389344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31" name="txt_rep_assisted_leads_nfi"/>
          <p:cNvSpPr/>
          <p:nvPr/>
        </p:nvSpPr>
        <p:spPr>
          <a:xfrm>
            <a:off x="4389344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,083</a:t>
            </a:r>
          </a:p>
        </p:txBody>
      </p:sp>
      <p:grpSp>
        <p:nvGrpSpPr>
          <p:cNvPr id="132" name="Group 131"/>
          <p:cNvGrpSpPr/>
          <p:nvPr/>
        </p:nvGrpSpPr>
        <p:grpSpPr>
          <a:xfrm>
            <a:off x="3963754" y="3988570"/>
            <a:ext cx="308085" cy="306111"/>
            <a:chOff x="5972176" y="3303588"/>
            <a:chExt cx="247650" cy="246063"/>
          </a:xfrm>
        </p:grpSpPr>
        <p:sp>
          <p:nvSpPr>
            <p:cNvPr id="133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0CFF3121-7194-4FFC-9855-CF496380EF5B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80298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413220" y="211575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Comparison trend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11480" y="1128840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Month over Month 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946446" y="1128839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Year over Year</a:t>
            </a:r>
          </a:p>
        </p:txBody>
      </p:sp>
      <p:graphicFrame>
        <p:nvGraphicFramePr>
          <p:cNvPr id="34" name="MoM_nfi"/>
          <p:cNvGraphicFramePr/>
          <p:nvPr>
            <p:extLst>
              <p:ext uri="{D42A27DB-BD31-4B8C-83A1-F6EECF244321}">
                <p14:modId xmlns:p14="http://schemas.microsoft.com/office/powerpoint/2010/main" val="1070017665"/>
              </p:ext>
            </p:extLst>
          </p:nvPr>
        </p:nvGraphicFramePr>
        <p:xfrm>
          <a:off x="310680" y="1313506"/>
          <a:ext cx="5082587" cy="42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5" name="YoY_nfi"/>
          <p:cNvGraphicFramePr/>
          <p:nvPr>
            <p:extLst>
              <p:ext uri="{D42A27DB-BD31-4B8C-83A1-F6EECF244321}">
                <p14:modId xmlns:p14="http://schemas.microsoft.com/office/powerpoint/2010/main" val="2724922358"/>
              </p:ext>
            </p:extLst>
          </p:nvPr>
        </p:nvGraphicFramePr>
        <p:xfrm>
          <a:off x="6740150" y="1313506"/>
          <a:ext cx="4846161" cy="42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36" name="Straight Connector 35"/>
          <p:cNvCxnSpPr/>
          <p:nvPr/>
        </p:nvCxnSpPr>
        <p:spPr>
          <a:xfrm>
            <a:off x="6096000" y="1208015"/>
            <a:ext cx="0" cy="3775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5095565" y="5547360"/>
            <a:ext cx="2000871" cy="184666"/>
            <a:chOff x="5042628" y="5547360"/>
            <a:chExt cx="2000871" cy="184666"/>
          </a:xfrm>
        </p:grpSpPr>
        <p:grpSp>
          <p:nvGrpSpPr>
            <p:cNvPr id="38" name="Group 37"/>
            <p:cNvGrpSpPr/>
            <p:nvPr/>
          </p:nvGrpSpPr>
          <p:grpSpPr>
            <a:xfrm>
              <a:off x="5042628" y="5547360"/>
              <a:ext cx="684904" cy="184666"/>
              <a:chOff x="4152550" y="5452827"/>
              <a:chExt cx="684904" cy="184666"/>
            </a:xfrm>
          </p:grpSpPr>
          <p:sp>
            <p:nvSpPr>
              <p:cNvPr id="42" name="Rectangle 41"/>
              <p:cNvSpPr/>
              <p:nvPr/>
            </p:nvSpPr>
            <p:spPr>
              <a:xfrm>
                <a:off x="4152550" y="5464644"/>
                <a:ext cx="161033" cy="161033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4420673" y="5452827"/>
                <a:ext cx="41678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Leads</a:t>
                </a: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6094099" y="5547360"/>
              <a:ext cx="949400" cy="184666"/>
              <a:chOff x="4152550" y="5452827"/>
              <a:chExt cx="949400" cy="184666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4152550" y="5464644"/>
                <a:ext cx="161033" cy="161033"/>
              </a:xfrm>
              <a:prstGeom prst="rect">
                <a:avLst/>
              </a:prstGeom>
              <a:solidFill>
                <a:srgbClr val="6366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4420673" y="5452827"/>
                <a:ext cx="68127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Approvals</a:t>
                </a:r>
              </a:p>
            </p:txBody>
          </p:sp>
        </p:grpSp>
      </p:grpSp>
      <p:sp>
        <p:nvSpPr>
          <p:cNvPr id="44" name="Freeform 43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45" name="Rectangle 44">
            <a:hlinkClick r:id="rId8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46" name="Rectangle 45">
            <a:hlinkClick r:id="rId9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47" name="Rectangle 46">
            <a:hlinkClick r:id="rId10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48" name="Rectangle 47">
            <a:hlinkClick r:id="rId11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49" name="Rectangle 48">
            <a:hlinkClick r:id="rId12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5CBBC9-DB0B-420D-BCA4-4A074D766DAA}"/>
              </a:ext>
            </a:extLst>
          </p:cNvPr>
          <p:cNvSpPr txBox="1"/>
          <p:nvPr/>
        </p:nvSpPr>
        <p:spPr>
          <a:xfrm>
            <a:off x="8285797" y="5493379"/>
            <a:ext cx="175605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 YoY% Change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6A9C3D2-2ECC-4546-B1E6-9EE4BDD226D7}"/>
              </a:ext>
            </a:extLst>
          </p:cNvPr>
          <p:cNvSpPr txBox="1"/>
          <p:nvPr/>
        </p:nvSpPr>
        <p:spPr>
          <a:xfrm>
            <a:off x="8292425" y="5208459"/>
            <a:ext cx="149156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YoY% Change:</a:t>
            </a:r>
          </a:p>
        </p:txBody>
      </p:sp>
      <p:sp>
        <p:nvSpPr>
          <p:cNvPr id="26" name="Approvals YoY_nfi">
            <a:extLst>
              <a:ext uri="{FF2B5EF4-FFF2-40B4-BE49-F238E27FC236}">
                <a16:creationId xmlns:a16="http://schemas.microsoft.com/office/drawing/2014/main" id="{30B60F44-B25D-4A10-A611-D3EDB33D4323}"/>
              </a:ext>
            </a:extLst>
          </p:cNvPr>
          <p:cNvSpPr txBox="1"/>
          <p:nvPr/>
        </p:nvSpPr>
        <p:spPr>
          <a:xfrm>
            <a:off x="10041717" y="5502844"/>
            <a:ext cx="70857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- 3.8%</a:t>
            </a:r>
          </a:p>
        </p:txBody>
      </p:sp>
      <p:sp>
        <p:nvSpPr>
          <p:cNvPr id="27" name="Leads YoY_nfi">
            <a:extLst>
              <a:ext uri="{FF2B5EF4-FFF2-40B4-BE49-F238E27FC236}">
                <a16:creationId xmlns:a16="http://schemas.microsoft.com/office/drawing/2014/main" id="{B1A76DE5-6CB1-497F-BDA8-C14FC7C42A7E}"/>
              </a:ext>
            </a:extLst>
          </p:cNvPr>
          <p:cNvSpPr txBox="1"/>
          <p:nvPr/>
        </p:nvSpPr>
        <p:spPr>
          <a:xfrm>
            <a:off x="10035093" y="5204672"/>
            <a:ext cx="70857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- 3.1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E7C500-992B-4D80-9CC2-643A458835D4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391426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Rectangle 157">
            <a:extLst>
              <a:ext uri="{FF2B5EF4-FFF2-40B4-BE49-F238E27FC236}">
                <a16:creationId xmlns:a16="http://schemas.microsoft.com/office/drawing/2014/main" id="{9FB8E394-1842-406B-B652-623858123D32}"/>
              </a:ext>
            </a:extLst>
          </p:cNvPr>
          <p:cNvSpPr/>
          <p:nvPr/>
        </p:nvSpPr>
        <p:spPr>
          <a:xfrm rot="5400000">
            <a:off x="8051335" y="2431051"/>
            <a:ext cx="5440077" cy="2368800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product_heading_nfi"/>
          <p:cNvSpPr txBox="1"/>
          <p:nvPr/>
        </p:nvSpPr>
        <p:spPr>
          <a:xfrm>
            <a:off x="413220" y="211574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Distribution</a:t>
            </a:r>
          </a:p>
        </p:txBody>
      </p:sp>
      <p:cxnSp>
        <p:nvCxnSpPr>
          <p:cNvPr id="61" name="Straight Connector 60"/>
          <p:cNvCxnSpPr/>
          <p:nvPr/>
        </p:nvCxnSpPr>
        <p:spPr>
          <a:xfrm>
            <a:off x="9756313" y="1251855"/>
            <a:ext cx="0" cy="4729845"/>
          </a:xfrm>
          <a:prstGeom prst="line">
            <a:avLst/>
          </a:prstGeom>
          <a:ln>
            <a:solidFill>
              <a:srgbClr val="5A5A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Freeform 6"/>
          <p:cNvSpPr>
            <a:spLocks/>
          </p:cNvSpPr>
          <p:nvPr/>
        </p:nvSpPr>
        <p:spPr bwMode="auto">
          <a:xfrm>
            <a:off x="6203508" y="6522854"/>
            <a:ext cx="54418" cy="115366"/>
          </a:xfrm>
          <a:custGeom>
            <a:avLst/>
            <a:gdLst>
              <a:gd name="T0" fmla="*/ 0 w 25"/>
              <a:gd name="T1" fmla="*/ 0 h 53"/>
              <a:gd name="T2" fmla="*/ 25 w 25"/>
              <a:gd name="T3" fmla="*/ 27 h 53"/>
              <a:gd name="T4" fmla="*/ 0 w 25"/>
              <a:gd name="T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53">
                <a:moveTo>
                  <a:pt x="0" y="0"/>
                </a:moveTo>
                <a:lnTo>
                  <a:pt x="25" y="27"/>
                </a:lnTo>
                <a:lnTo>
                  <a:pt x="0" y="53"/>
                </a:lnTo>
              </a:path>
            </a:pathLst>
          </a:custGeom>
          <a:noFill/>
          <a:ln w="19050" cap="rnd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" name="Freeform 8"/>
          <p:cNvSpPr>
            <a:spLocks/>
          </p:cNvSpPr>
          <p:nvPr/>
        </p:nvSpPr>
        <p:spPr bwMode="auto">
          <a:xfrm>
            <a:off x="5934075" y="6522854"/>
            <a:ext cx="54418" cy="115366"/>
          </a:xfrm>
          <a:custGeom>
            <a:avLst/>
            <a:gdLst>
              <a:gd name="T0" fmla="*/ 25 w 25"/>
              <a:gd name="T1" fmla="*/ 0 h 53"/>
              <a:gd name="T2" fmla="*/ 0 w 25"/>
              <a:gd name="T3" fmla="*/ 27 h 53"/>
              <a:gd name="T4" fmla="*/ 25 w 25"/>
              <a:gd name="T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53">
                <a:moveTo>
                  <a:pt x="25" y="0"/>
                </a:moveTo>
                <a:lnTo>
                  <a:pt x="0" y="27"/>
                </a:lnTo>
                <a:lnTo>
                  <a:pt x="25" y="53"/>
                </a:lnTo>
              </a:path>
            </a:pathLst>
          </a:custGeom>
          <a:noFill/>
          <a:ln w="19050" cap="rnd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" name="Rectangle 72">
            <a:hlinkClick r:id="" action="ppaction://hlinkshowjump?jump=previousslide"/>
          </p:cNvPr>
          <p:cNvSpPr/>
          <p:nvPr/>
        </p:nvSpPr>
        <p:spPr>
          <a:xfrm>
            <a:off x="5878291" y="6489924"/>
            <a:ext cx="181226" cy="18122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>
            <a:hlinkClick r:id="" action="ppaction://hlinkshowjump?jump=nextslide"/>
          </p:cNvPr>
          <p:cNvSpPr/>
          <p:nvPr/>
        </p:nvSpPr>
        <p:spPr>
          <a:xfrm>
            <a:off x="6140104" y="6489924"/>
            <a:ext cx="181226" cy="18122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CAC28474-6099-4DFB-8F8D-96912F762B13}"/>
              </a:ext>
            </a:extLst>
          </p:cNvPr>
          <p:cNvSpPr txBox="1"/>
          <p:nvPr/>
        </p:nvSpPr>
        <p:spPr>
          <a:xfrm>
            <a:off x="9901697" y="1251855"/>
            <a:ext cx="187151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800"/>
              </a:spcBef>
            </a:pPr>
            <a:r>
              <a:rPr lang="en-US" sz="1400" b="1" dirty="0">
                <a:solidFill>
                  <a:schemeClr val="bg1"/>
                </a:solidFill>
              </a:rPr>
              <a:t>Insight</a:t>
            </a:r>
          </a:p>
        </p:txBody>
      </p:sp>
      <p:sp>
        <p:nvSpPr>
          <p:cNvPr id="148" name="product_insight_nfi">
            <a:extLst>
              <a:ext uri="{FF2B5EF4-FFF2-40B4-BE49-F238E27FC236}">
                <a16:creationId xmlns:a16="http://schemas.microsoft.com/office/drawing/2014/main" id="{725EC5A7-F23E-4845-BA32-33934BFDED9C}"/>
              </a:ext>
            </a:extLst>
          </p:cNvPr>
          <p:cNvSpPr/>
          <p:nvPr/>
        </p:nvSpPr>
        <p:spPr>
          <a:xfrm>
            <a:off x="9901697" y="1571802"/>
            <a:ext cx="1770487" cy="20313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Prod C has a Purchase share of 17.7% and it is ranked 3 among all products. With Add to Cart share of 12.8% and a rank of 6, Prod C has highest Product Purchase Rate of 128.1%. Focus on maintaining Product Purchase Rate for Prod C.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5" name="Approvals Note">
            <a:extLst>
              <a:ext uri="{FF2B5EF4-FFF2-40B4-BE49-F238E27FC236}">
                <a16:creationId xmlns:a16="http://schemas.microsoft.com/office/drawing/2014/main" id="{11713F13-0402-480A-8AF6-AF5592EE352A}"/>
              </a:ext>
            </a:extLst>
          </p:cNvPr>
          <p:cNvSpPr txBox="1"/>
          <p:nvPr/>
        </p:nvSpPr>
        <p:spPr>
          <a:xfrm>
            <a:off x="411480" y="6144360"/>
            <a:ext cx="59249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rovals and purchases are not a direct 1:1 correlation, as one merchant could purchase multiple devices</a:t>
            </a:r>
          </a:p>
        </p:txBody>
      </p:sp>
      <p:pic>
        <p:nvPicPr>
          <p:cNvPr id="136" name="Picture 81" descr="Image result for firstdata statio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325" y="1791327"/>
            <a:ext cx="652136" cy="35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Rectangle 13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1871105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A</a:t>
            </a:r>
          </a:p>
        </p:txBody>
      </p:sp>
      <p:pic>
        <p:nvPicPr>
          <p:cNvPr id="138" name="Picture 79" descr="Related image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7" t="14007" r="16013" b="7100"/>
          <a:stretch/>
        </p:blipFill>
        <p:spPr bwMode="auto">
          <a:xfrm>
            <a:off x="647324" y="2542025"/>
            <a:ext cx="812138" cy="399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9" name="Rectangle 13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2616160"/>
            <a:ext cx="46968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B</a:t>
            </a:r>
          </a:p>
        </p:txBody>
      </p:sp>
      <p:pic>
        <p:nvPicPr>
          <p:cNvPr id="140" name="Picture 77" descr="Image result for firstdata flex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55" r="27523" b="10288"/>
          <a:stretch/>
        </p:blipFill>
        <p:spPr bwMode="auto">
          <a:xfrm rot="20670894">
            <a:off x="854350" y="3257237"/>
            <a:ext cx="398086" cy="45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Rectangle 140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3361215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C</a:t>
            </a:r>
          </a:p>
        </p:txBody>
      </p:sp>
      <p:pic>
        <p:nvPicPr>
          <p:cNvPr id="142" name="Picture 75" descr="Related image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82" r="18313" b="8735"/>
          <a:stretch/>
        </p:blipFill>
        <p:spPr bwMode="auto">
          <a:xfrm>
            <a:off x="810577" y="3987067"/>
            <a:ext cx="485632" cy="407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Rectangle 14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4106270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D</a:t>
            </a:r>
          </a:p>
        </p:txBody>
      </p:sp>
      <p:pic>
        <p:nvPicPr>
          <p:cNvPr id="144" name="Picture 143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1" t="-4997" r="18473" b="-2"/>
          <a:stretch/>
        </p:blipFill>
        <p:spPr>
          <a:xfrm>
            <a:off x="655827" y="4671392"/>
            <a:ext cx="795131" cy="587998"/>
          </a:xfrm>
          <a:prstGeom prst="rect">
            <a:avLst/>
          </a:prstGeom>
        </p:spPr>
      </p:pic>
      <p:sp>
        <p:nvSpPr>
          <p:cNvPr id="145" name="Rectangle 14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4851325"/>
            <a:ext cx="496033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A 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5511743"/>
            <a:ext cx="46968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E</a:t>
            </a:r>
          </a:p>
        </p:txBody>
      </p:sp>
      <p:pic>
        <p:nvPicPr>
          <p:cNvPr id="272" name="Picture 27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37" y="5472576"/>
            <a:ext cx="665512" cy="458598"/>
          </a:xfrm>
          <a:prstGeom prst="rect">
            <a:avLst/>
          </a:prstGeom>
        </p:spPr>
      </p:pic>
      <p:sp>
        <p:nvSpPr>
          <p:cNvPr id="274" name="TextBox 273"/>
          <p:cNvSpPr txBox="1"/>
          <p:nvPr/>
        </p:nvSpPr>
        <p:spPr>
          <a:xfrm>
            <a:off x="5254966" y="1333890"/>
            <a:ext cx="98318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o cart</a:t>
            </a:r>
          </a:p>
        </p:txBody>
      </p:sp>
      <p:sp>
        <p:nvSpPr>
          <p:cNvPr id="275" name="TextBox 274"/>
          <p:cNvSpPr txBox="1"/>
          <p:nvPr/>
        </p:nvSpPr>
        <p:spPr>
          <a:xfrm>
            <a:off x="3178238" y="1333890"/>
            <a:ext cx="86902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ews</a:t>
            </a:r>
          </a:p>
        </p:txBody>
      </p:sp>
      <p:sp>
        <p:nvSpPr>
          <p:cNvPr id="368" name="Freeform 12"/>
          <p:cNvSpPr>
            <a:spLocks/>
          </p:cNvSpPr>
          <p:nvPr/>
        </p:nvSpPr>
        <p:spPr bwMode="auto">
          <a:xfrm>
            <a:off x="5587727" y="1038172"/>
            <a:ext cx="307978" cy="171450"/>
          </a:xfrm>
          <a:custGeom>
            <a:avLst/>
            <a:gdLst>
              <a:gd name="T0" fmla="*/ 0 w 79"/>
              <a:gd name="T1" fmla="*/ 0 h 44"/>
              <a:gd name="T2" fmla="*/ 74 w 79"/>
              <a:gd name="T3" fmla="*/ 0 h 44"/>
              <a:gd name="T4" fmla="*/ 78 w 79"/>
              <a:gd name="T5" fmla="*/ 2 h 44"/>
              <a:gd name="T6" fmla="*/ 78 w 79"/>
              <a:gd name="T7" fmla="*/ 5 h 44"/>
              <a:gd name="T8" fmla="*/ 70 w 79"/>
              <a:gd name="T9" fmla="*/ 35 h 44"/>
              <a:gd name="T10" fmla="*/ 58 w 79"/>
              <a:gd name="T11" fmla="*/ 44 h 44"/>
              <a:gd name="T12" fmla="*/ 9 w 79"/>
              <a:gd name="T13" fmla="*/ 4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9" h="44">
                <a:moveTo>
                  <a:pt x="0" y="0"/>
                </a:move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7" y="1"/>
                  <a:pt x="78" y="2"/>
                </a:cubicBezTo>
                <a:cubicBezTo>
                  <a:pt x="78" y="3"/>
                  <a:pt x="79" y="4"/>
                  <a:pt x="78" y="5"/>
                </a:cubicBezTo>
                <a:cubicBezTo>
                  <a:pt x="70" y="35"/>
                  <a:pt x="70" y="35"/>
                  <a:pt x="70" y="35"/>
                </a:cubicBezTo>
                <a:cubicBezTo>
                  <a:pt x="69" y="40"/>
                  <a:pt x="64" y="44"/>
                  <a:pt x="58" y="44"/>
                </a:cubicBezTo>
                <a:cubicBezTo>
                  <a:pt x="9" y="44"/>
                  <a:pt x="9" y="44"/>
                  <a:pt x="9" y="44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9" name="Freeform 13"/>
          <p:cNvSpPr>
            <a:spLocks/>
          </p:cNvSpPr>
          <p:nvPr/>
        </p:nvSpPr>
        <p:spPr bwMode="auto">
          <a:xfrm>
            <a:off x="5540102" y="958797"/>
            <a:ext cx="296865" cy="296863"/>
          </a:xfrm>
          <a:custGeom>
            <a:avLst/>
            <a:gdLst>
              <a:gd name="T0" fmla="*/ 0 w 76"/>
              <a:gd name="T1" fmla="*/ 0 h 76"/>
              <a:gd name="T2" fmla="*/ 1 w 76"/>
              <a:gd name="T3" fmla="*/ 0 h 76"/>
              <a:gd name="T4" fmla="*/ 9 w 76"/>
              <a:gd name="T5" fmla="*/ 6 h 76"/>
              <a:gd name="T6" fmla="*/ 22 w 76"/>
              <a:gd name="T7" fmla="*/ 70 h 76"/>
              <a:gd name="T8" fmla="*/ 30 w 76"/>
              <a:gd name="T9" fmla="*/ 76 h 76"/>
              <a:gd name="T10" fmla="*/ 76 w 76"/>
              <a:gd name="T11" fmla="*/ 76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6" h="76">
                <a:moveTo>
                  <a:pt x="0" y="0"/>
                </a:moveTo>
                <a:cubicBezTo>
                  <a:pt x="1" y="0"/>
                  <a:pt x="1" y="0"/>
                  <a:pt x="1" y="0"/>
                </a:cubicBezTo>
                <a:cubicBezTo>
                  <a:pt x="5" y="0"/>
                  <a:pt x="8" y="3"/>
                  <a:pt x="9" y="6"/>
                </a:cubicBezTo>
                <a:cubicBezTo>
                  <a:pt x="22" y="70"/>
                  <a:pt x="22" y="70"/>
                  <a:pt x="22" y="70"/>
                </a:cubicBezTo>
                <a:cubicBezTo>
                  <a:pt x="23" y="73"/>
                  <a:pt x="26" y="76"/>
                  <a:pt x="30" y="76"/>
                </a:cubicBezTo>
                <a:cubicBezTo>
                  <a:pt x="76" y="76"/>
                  <a:pt x="76" y="76"/>
                  <a:pt x="76" y="76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70" name="Oval 14"/>
          <p:cNvSpPr>
            <a:spLocks noChangeArrowheads="1"/>
          </p:cNvSpPr>
          <p:nvPr/>
        </p:nvSpPr>
        <p:spPr bwMode="auto">
          <a:xfrm>
            <a:off x="5625828" y="1271535"/>
            <a:ext cx="47625" cy="47625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71" name="Oval 15"/>
          <p:cNvSpPr>
            <a:spLocks noChangeArrowheads="1"/>
          </p:cNvSpPr>
          <p:nvPr/>
        </p:nvSpPr>
        <p:spPr bwMode="auto">
          <a:xfrm>
            <a:off x="5782992" y="1271535"/>
            <a:ext cx="46038" cy="47625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5" name="Freeform 364"/>
          <p:cNvSpPr>
            <a:spLocks/>
          </p:cNvSpPr>
          <p:nvPr/>
        </p:nvSpPr>
        <p:spPr bwMode="auto">
          <a:xfrm>
            <a:off x="7714076" y="1068335"/>
            <a:ext cx="352425" cy="250825"/>
          </a:xfrm>
          <a:custGeom>
            <a:avLst/>
            <a:gdLst>
              <a:gd name="T0" fmla="*/ 77 w 90"/>
              <a:gd name="T1" fmla="*/ 64 h 64"/>
              <a:gd name="T2" fmla="*/ 13 w 90"/>
              <a:gd name="T3" fmla="*/ 64 h 64"/>
              <a:gd name="T4" fmla="*/ 4 w 90"/>
              <a:gd name="T5" fmla="*/ 60 h 64"/>
              <a:gd name="T6" fmla="*/ 1 w 90"/>
              <a:gd name="T7" fmla="*/ 51 h 64"/>
              <a:gd name="T8" fmla="*/ 7 w 90"/>
              <a:gd name="T9" fmla="*/ 0 h 64"/>
              <a:gd name="T10" fmla="*/ 83 w 90"/>
              <a:gd name="T11" fmla="*/ 0 h 64"/>
              <a:gd name="T12" fmla="*/ 89 w 90"/>
              <a:gd name="T13" fmla="*/ 51 h 64"/>
              <a:gd name="T14" fmla="*/ 86 w 90"/>
              <a:gd name="T15" fmla="*/ 60 h 64"/>
              <a:gd name="T16" fmla="*/ 77 w 90"/>
              <a:gd name="T17" fmla="*/ 6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0" h="64">
                <a:moveTo>
                  <a:pt x="77" y="64"/>
                </a:moveTo>
                <a:cubicBezTo>
                  <a:pt x="13" y="64"/>
                  <a:pt x="13" y="64"/>
                  <a:pt x="13" y="64"/>
                </a:cubicBezTo>
                <a:cubicBezTo>
                  <a:pt x="9" y="64"/>
                  <a:pt x="6" y="63"/>
                  <a:pt x="4" y="60"/>
                </a:cubicBezTo>
                <a:cubicBezTo>
                  <a:pt x="1" y="57"/>
                  <a:pt x="0" y="54"/>
                  <a:pt x="1" y="51"/>
                </a:cubicBezTo>
                <a:cubicBezTo>
                  <a:pt x="7" y="0"/>
                  <a:pt x="7" y="0"/>
                  <a:pt x="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9" y="51"/>
                  <a:pt x="89" y="51"/>
                  <a:pt x="89" y="51"/>
                </a:cubicBezTo>
                <a:cubicBezTo>
                  <a:pt x="90" y="54"/>
                  <a:pt x="89" y="57"/>
                  <a:pt x="86" y="60"/>
                </a:cubicBezTo>
                <a:cubicBezTo>
                  <a:pt x="84" y="63"/>
                  <a:pt x="81" y="64"/>
                  <a:pt x="77" y="64"/>
                </a:cubicBezTo>
                <a:close/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6" name="Freeform 365"/>
          <p:cNvSpPr>
            <a:spLocks/>
          </p:cNvSpPr>
          <p:nvPr/>
        </p:nvSpPr>
        <p:spPr bwMode="auto">
          <a:xfrm>
            <a:off x="7741064" y="1030235"/>
            <a:ext cx="298450" cy="38100"/>
          </a:xfrm>
          <a:custGeom>
            <a:avLst/>
            <a:gdLst>
              <a:gd name="T0" fmla="*/ 14 w 76"/>
              <a:gd name="T1" fmla="*/ 0 h 10"/>
              <a:gd name="T2" fmla="*/ 8 w 76"/>
              <a:gd name="T3" fmla="*/ 0 h 10"/>
              <a:gd name="T4" fmla="*/ 5 w 76"/>
              <a:gd name="T5" fmla="*/ 2 h 10"/>
              <a:gd name="T6" fmla="*/ 0 w 76"/>
              <a:gd name="T7" fmla="*/ 10 h 10"/>
              <a:gd name="T8" fmla="*/ 76 w 76"/>
              <a:gd name="T9" fmla="*/ 10 h 10"/>
              <a:gd name="T10" fmla="*/ 71 w 76"/>
              <a:gd name="T11" fmla="*/ 2 h 10"/>
              <a:gd name="T12" fmla="*/ 68 w 76"/>
              <a:gd name="T13" fmla="*/ 0 h 10"/>
              <a:gd name="T14" fmla="*/ 62 w 76"/>
              <a:gd name="T15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" h="10">
                <a:moveTo>
                  <a:pt x="14" y="0"/>
                </a:moveTo>
                <a:cubicBezTo>
                  <a:pt x="8" y="0"/>
                  <a:pt x="8" y="0"/>
                  <a:pt x="8" y="0"/>
                </a:cubicBezTo>
                <a:cubicBezTo>
                  <a:pt x="7" y="0"/>
                  <a:pt x="6" y="1"/>
                  <a:pt x="5" y="2"/>
                </a:cubicBezTo>
                <a:cubicBezTo>
                  <a:pt x="0" y="10"/>
                  <a:pt x="0" y="10"/>
                  <a:pt x="0" y="10"/>
                </a:cubicBezTo>
                <a:cubicBezTo>
                  <a:pt x="76" y="10"/>
                  <a:pt x="76" y="10"/>
                  <a:pt x="76" y="10"/>
                </a:cubicBezTo>
                <a:cubicBezTo>
                  <a:pt x="71" y="2"/>
                  <a:pt x="71" y="2"/>
                  <a:pt x="71" y="2"/>
                </a:cubicBezTo>
                <a:cubicBezTo>
                  <a:pt x="70" y="1"/>
                  <a:pt x="69" y="0"/>
                  <a:pt x="68" y="0"/>
                </a:cubicBezTo>
                <a:cubicBezTo>
                  <a:pt x="62" y="0"/>
                  <a:pt x="62" y="0"/>
                  <a:pt x="62" y="0"/>
                </a:cubicBezTo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7" name="Freeform 366"/>
          <p:cNvSpPr>
            <a:spLocks/>
          </p:cNvSpPr>
          <p:nvPr/>
        </p:nvSpPr>
        <p:spPr bwMode="auto">
          <a:xfrm>
            <a:off x="7828376" y="958797"/>
            <a:ext cx="123825" cy="109538"/>
          </a:xfrm>
          <a:custGeom>
            <a:avLst/>
            <a:gdLst>
              <a:gd name="T0" fmla="*/ 32 w 32"/>
              <a:gd name="T1" fmla="*/ 16 h 28"/>
              <a:gd name="T2" fmla="*/ 16 w 32"/>
              <a:gd name="T3" fmla="*/ 0 h 28"/>
              <a:gd name="T4" fmla="*/ 0 w 32"/>
              <a:gd name="T5" fmla="*/ 16 h 28"/>
              <a:gd name="T6" fmla="*/ 0 w 32"/>
              <a:gd name="T7" fmla="*/ 28 h 28"/>
              <a:gd name="T8" fmla="*/ 32 w 32"/>
              <a:gd name="T9" fmla="*/ 28 h 28"/>
              <a:gd name="T10" fmla="*/ 32 w 32"/>
              <a:gd name="T11" fmla="*/ 1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" h="28">
                <a:moveTo>
                  <a:pt x="32" y="16"/>
                </a:moveTo>
                <a:cubicBezTo>
                  <a:pt x="32" y="7"/>
                  <a:pt x="25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28"/>
                  <a:pt x="0" y="28"/>
                  <a:pt x="0" y="28"/>
                </a:cubicBezTo>
                <a:cubicBezTo>
                  <a:pt x="32" y="28"/>
                  <a:pt x="32" y="28"/>
                  <a:pt x="32" y="28"/>
                </a:cubicBezTo>
                <a:lnTo>
                  <a:pt x="32" y="16"/>
                </a:lnTo>
                <a:close/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8" name="Freeform 260">
            <a:extLst>
              <a:ext uri="{FF2B5EF4-FFF2-40B4-BE49-F238E27FC236}">
                <a16:creationId xmlns:a16="http://schemas.microsoft.com/office/drawing/2014/main" id="{BE7CBB2B-BA7E-4B43-AE24-6AE8498D2475}"/>
              </a:ext>
            </a:extLst>
          </p:cNvPr>
          <p:cNvSpPr>
            <a:spLocks/>
          </p:cNvSpPr>
          <p:nvPr/>
        </p:nvSpPr>
        <p:spPr bwMode="auto">
          <a:xfrm>
            <a:off x="3458035" y="990547"/>
            <a:ext cx="38100" cy="39687"/>
          </a:xfrm>
          <a:custGeom>
            <a:avLst/>
            <a:gdLst>
              <a:gd name="T0" fmla="*/ 0 w 12"/>
              <a:gd name="T1" fmla="*/ 12 h 12"/>
              <a:gd name="T2" fmla="*/ 0 w 12"/>
              <a:gd name="T3" fmla="*/ 4 h 12"/>
              <a:gd name="T4" fmla="*/ 4 w 12"/>
              <a:gd name="T5" fmla="*/ 0 h 12"/>
              <a:gd name="T6" fmla="*/ 12 w 12"/>
              <a:gd name="T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0" y="12"/>
                </a:move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2" y="0"/>
                  <a:pt x="12" y="0"/>
                  <a:pt x="12" y="0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Freeform 261">
            <a:extLst>
              <a:ext uri="{FF2B5EF4-FFF2-40B4-BE49-F238E27FC236}">
                <a16:creationId xmlns:a16="http://schemas.microsoft.com/office/drawing/2014/main" id="{E8CDB7AD-4195-48B7-962A-4D2314A1FA89}"/>
              </a:ext>
            </a:extLst>
          </p:cNvPr>
          <p:cNvSpPr>
            <a:spLocks/>
          </p:cNvSpPr>
          <p:nvPr/>
        </p:nvSpPr>
        <p:spPr bwMode="auto">
          <a:xfrm>
            <a:off x="3716798" y="990547"/>
            <a:ext cx="39688" cy="39687"/>
          </a:xfrm>
          <a:custGeom>
            <a:avLst/>
            <a:gdLst>
              <a:gd name="T0" fmla="*/ 12 w 12"/>
              <a:gd name="T1" fmla="*/ 12 h 12"/>
              <a:gd name="T2" fmla="*/ 12 w 12"/>
              <a:gd name="T3" fmla="*/ 4 h 12"/>
              <a:gd name="T4" fmla="*/ 8 w 12"/>
              <a:gd name="T5" fmla="*/ 0 h 12"/>
              <a:gd name="T6" fmla="*/ 0 w 12"/>
              <a:gd name="T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12" y="12"/>
                </a:moveTo>
                <a:cubicBezTo>
                  <a:pt x="12" y="4"/>
                  <a:pt x="12" y="4"/>
                  <a:pt x="12" y="4"/>
                </a:cubicBezTo>
                <a:cubicBezTo>
                  <a:pt x="12" y="2"/>
                  <a:pt x="10" y="0"/>
                  <a:pt x="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Freeform 262">
            <a:extLst>
              <a:ext uri="{FF2B5EF4-FFF2-40B4-BE49-F238E27FC236}">
                <a16:creationId xmlns:a16="http://schemas.microsoft.com/office/drawing/2014/main" id="{6894E76D-10F8-4615-8EA0-826DB1913F97}"/>
              </a:ext>
            </a:extLst>
          </p:cNvPr>
          <p:cNvSpPr>
            <a:spLocks/>
          </p:cNvSpPr>
          <p:nvPr/>
        </p:nvSpPr>
        <p:spPr bwMode="auto">
          <a:xfrm>
            <a:off x="3458035" y="1249309"/>
            <a:ext cx="38100" cy="38100"/>
          </a:xfrm>
          <a:custGeom>
            <a:avLst/>
            <a:gdLst>
              <a:gd name="T0" fmla="*/ 0 w 12"/>
              <a:gd name="T1" fmla="*/ 0 h 12"/>
              <a:gd name="T2" fmla="*/ 0 w 12"/>
              <a:gd name="T3" fmla="*/ 8 h 12"/>
              <a:gd name="T4" fmla="*/ 4 w 12"/>
              <a:gd name="T5" fmla="*/ 12 h 12"/>
              <a:gd name="T6" fmla="*/ 12 w 1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0" y="0"/>
                </a:moveTo>
                <a:cubicBezTo>
                  <a:pt x="0" y="8"/>
                  <a:pt x="0" y="8"/>
                  <a:pt x="0" y="8"/>
                </a:cubicBezTo>
                <a:cubicBezTo>
                  <a:pt x="0" y="10"/>
                  <a:pt x="2" y="12"/>
                  <a:pt x="4" y="12"/>
                </a:cubicBezTo>
                <a:cubicBezTo>
                  <a:pt x="12" y="12"/>
                  <a:pt x="12" y="12"/>
                  <a:pt x="12" y="12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Freeform 263">
            <a:extLst>
              <a:ext uri="{FF2B5EF4-FFF2-40B4-BE49-F238E27FC236}">
                <a16:creationId xmlns:a16="http://schemas.microsoft.com/office/drawing/2014/main" id="{B210F6D3-422D-404D-8B51-D1B5F74BB7A4}"/>
              </a:ext>
            </a:extLst>
          </p:cNvPr>
          <p:cNvSpPr>
            <a:spLocks/>
          </p:cNvSpPr>
          <p:nvPr/>
        </p:nvSpPr>
        <p:spPr bwMode="auto">
          <a:xfrm>
            <a:off x="3716798" y="1249309"/>
            <a:ext cx="39688" cy="38100"/>
          </a:xfrm>
          <a:custGeom>
            <a:avLst/>
            <a:gdLst>
              <a:gd name="T0" fmla="*/ 12 w 12"/>
              <a:gd name="T1" fmla="*/ 0 h 12"/>
              <a:gd name="T2" fmla="*/ 12 w 12"/>
              <a:gd name="T3" fmla="*/ 8 h 12"/>
              <a:gd name="T4" fmla="*/ 8 w 12"/>
              <a:gd name="T5" fmla="*/ 12 h 12"/>
              <a:gd name="T6" fmla="*/ 0 w 1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" h="12">
                <a:moveTo>
                  <a:pt x="12" y="0"/>
                </a:moveTo>
                <a:cubicBezTo>
                  <a:pt x="12" y="8"/>
                  <a:pt x="12" y="8"/>
                  <a:pt x="12" y="8"/>
                </a:cubicBezTo>
                <a:cubicBezTo>
                  <a:pt x="12" y="10"/>
                  <a:pt x="10" y="12"/>
                  <a:pt x="8" y="12"/>
                </a:cubicBezTo>
                <a:cubicBezTo>
                  <a:pt x="0" y="12"/>
                  <a:pt x="0" y="12"/>
                  <a:pt x="0" y="12"/>
                </a:cubicBezTo>
              </a:path>
            </a:pathLst>
          </a:cu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" name="Oval 264">
            <a:extLst>
              <a:ext uri="{FF2B5EF4-FFF2-40B4-BE49-F238E27FC236}">
                <a16:creationId xmlns:a16="http://schemas.microsoft.com/office/drawing/2014/main" id="{C1441970-5706-442E-AA32-7157D55C8D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1223" y="1093734"/>
            <a:ext cx="90488" cy="90487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Oval 265">
            <a:extLst>
              <a:ext uri="{FF2B5EF4-FFF2-40B4-BE49-F238E27FC236}">
                <a16:creationId xmlns:a16="http://schemas.microsoft.com/office/drawing/2014/main" id="{FC8CAA09-614B-4A1D-95A0-F2482C7477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4085" y="1136597"/>
            <a:ext cx="6350" cy="6350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Oval 266">
            <a:extLst>
              <a:ext uri="{FF2B5EF4-FFF2-40B4-BE49-F238E27FC236}">
                <a16:creationId xmlns:a16="http://schemas.microsoft.com/office/drawing/2014/main" id="{AD77BBAE-E74E-45FF-8636-B89D459134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0260" y="1061984"/>
            <a:ext cx="254000" cy="153987"/>
          </a:xfrm>
          <a:prstGeom prst="ellips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" name="TextBox 278"/>
          <p:cNvSpPr txBox="1"/>
          <p:nvPr/>
        </p:nvSpPr>
        <p:spPr>
          <a:xfrm>
            <a:off x="7077452" y="1363674"/>
            <a:ext cx="178855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urchase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165840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56" name="txt_station_views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8%</a:t>
            </a:r>
          </a:p>
        </p:txBody>
      </p:sp>
      <p:sp>
        <p:nvSpPr>
          <p:cNvPr id="357" name="txt_station_views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196239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704)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165840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53" name="txt_add_to_cart_station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20.9%</a:t>
            </a:r>
          </a:p>
        </p:txBody>
      </p:sp>
      <p:sp>
        <p:nvSpPr>
          <p:cNvPr id="354" name="txt_add_to_cart_station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196239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,072)</a:t>
            </a: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165840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50" name="txt_device_station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8.9%</a:t>
            </a:r>
          </a:p>
        </p:txBody>
      </p:sp>
      <p:sp>
        <p:nvSpPr>
          <p:cNvPr id="351" name="txt_device_station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196239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743)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2403458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44" name="txt_mini_views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6%</a:t>
            </a:r>
          </a:p>
        </p:txBody>
      </p:sp>
      <p:sp>
        <p:nvSpPr>
          <p:cNvPr id="345" name="txt_mini_views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270744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684)</a:t>
            </a:r>
          </a:p>
        </p:txBody>
      </p:sp>
      <p:sp>
        <p:nvSpPr>
          <p:cNvPr id="340" name="Rectangle 33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2403458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41" name="txt_add_to_cart_mini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1%</a:t>
            </a:r>
          </a:p>
        </p:txBody>
      </p:sp>
      <p:sp>
        <p:nvSpPr>
          <p:cNvPr id="342" name="txt_add_to_cart_mini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270744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696)</a:t>
            </a: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2403458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8" name="txt_device_mini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1.1%</a:t>
            </a:r>
          </a:p>
        </p:txBody>
      </p:sp>
      <p:sp>
        <p:nvSpPr>
          <p:cNvPr id="339" name="txt_device_mini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270744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022)</a:t>
            </a: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314851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2" name="txt_flex_views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2%</a:t>
            </a:r>
          </a:p>
        </p:txBody>
      </p:sp>
      <p:sp>
        <p:nvSpPr>
          <p:cNvPr id="333" name="txt_flex_views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345250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546)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314851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29" name="txt_add_to_cart_flex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2.8%</a:t>
            </a:r>
          </a:p>
        </p:txBody>
      </p:sp>
      <p:sp>
        <p:nvSpPr>
          <p:cNvPr id="330" name="txt_add_to_cart_flex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345250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273)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314851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26" name="txt_device_flex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7%</a:t>
            </a:r>
          </a:p>
        </p:txBody>
      </p:sp>
      <p:sp>
        <p:nvSpPr>
          <p:cNvPr id="327" name="txt_device_flex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345250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631)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3893568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20" name="txt_go_views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2%</a:t>
            </a:r>
          </a:p>
        </p:txBody>
      </p:sp>
      <p:sp>
        <p:nvSpPr>
          <p:cNvPr id="321" name="txt_go_views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419755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751)</a:t>
            </a: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3893568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17" name="txt_add_to_cart_go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8.5%</a:t>
            </a:r>
          </a:p>
        </p:txBody>
      </p:sp>
      <p:sp>
        <p:nvSpPr>
          <p:cNvPr id="318" name="txt_add_to_cart_go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419755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833)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3893568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4" name="txt_device_clover_go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5%</a:t>
            </a:r>
          </a:p>
        </p:txBody>
      </p:sp>
      <p:sp>
        <p:nvSpPr>
          <p:cNvPr id="315" name="txt_device_clover_go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419755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428)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463862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8" name="txt_station_pro_views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8.0%</a:t>
            </a:r>
          </a:p>
        </p:txBody>
      </p:sp>
      <p:sp>
        <p:nvSpPr>
          <p:cNvPr id="309" name="txt_station_pro_views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494261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832)</a:t>
            </a: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463862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05" name="txt_add_to_cart_station_pro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2%</a:t>
            </a:r>
          </a:p>
        </p:txBody>
      </p:sp>
      <p:sp>
        <p:nvSpPr>
          <p:cNvPr id="306" name="txt_add_to_cart_station_pro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494261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507)</a:t>
            </a: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463862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2" name="txt_device_stationpro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9.9%</a:t>
            </a:r>
          </a:p>
        </p:txBody>
      </p:sp>
      <p:sp>
        <p:nvSpPr>
          <p:cNvPr id="303" name="txt_device_stationpro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494261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840)</a:t>
            </a: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5383680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6" name="txt_account_only_views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1%</a:t>
            </a:r>
          </a:p>
        </p:txBody>
      </p:sp>
      <p:sp>
        <p:nvSpPr>
          <p:cNvPr id="297" name="txt_account_only_views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5687671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635)</a:t>
            </a: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5383680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93" name="txt_add_to_cart_account_only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N/A</a:t>
            </a:r>
          </a:p>
        </p:txBody>
      </p:sp>
      <p:sp>
        <p:nvSpPr>
          <p:cNvPr id="294" name="txt_add_to_cart_account_only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517307" y="5687671"/>
            <a:ext cx="595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N/A</a:t>
            </a: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5383680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0" name="txt_account_only_purchases_contrib_nfi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9%</a:t>
            </a:r>
          </a:p>
        </p:txBody>
      </p:sp>
      <p:sp>
        <p:nvSpPr>
          <p:cNvPr id="291" name="txt_account_only_purchases_nfi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5687671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560)</a:t>
            </a:r>
          </a:p>
        </p:txBody>
      </p:sp>
      <p:sp>
        <p:nvSpPr>
          <p:cNvPr id="372" name="Freeform 371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373" name="Rectangle 372">
            <a:hlinkClick r:id="rId12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374" name="Rectangle 373">
            <a:hlinkClick r:id="rId13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375" name="Rectangle 374">
            <a:hlinkClick r:id="rId14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376" name="Rectangle 375">
            <a:hlinkClick r:id="rId15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377" name="Rectangle 376">
            <a:hlinkClick r:id="rId16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D</a:t>
            </a:r>
          </a:p>
        </p:txBody>
      </p:sp>
      <p:sp>
        <p:nvSpPr>
          <p:cNvPr id="103" name="Accounts Note">
            <a:extLst>
              <a:ext uri="{FF2B5EF4-FFF2-40B4-BE49-F238E27FC236}">
                <a16:creationId xmlns:a16="http://schemas.microsoft.com/office/drawing/2014/main" id="{FA350F94-0A6B-44C6-87BE-EB4AD959B762}"/>
              </a:ext>
            </a:extLst>
          </p:cNvPr>
          <p:cNvSpPr txBox="1"/>
          <p:nvPr/>
        </p:nvSpPr>
        <p:spPr>
          <a:xfrm>
            <a:off x="411480" y="6323189"/>
            <a:ext cx="59249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d to cart for Virtual will always be N/A due to unique purchase flow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AD933BF9-FC44-4A17-AADA-CBCBA8B5CDD7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233423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2298" y="240718"/>
            <a:ext cx="10515600" cy="679904"/>
          </a:xfrm>
        </p:spPr>
        <p:txBody>
          <a:bodyPr>
            <a:normAutofit/>
          </a:bodyPr>
          <a:lstStyle/>
          <a:p>
            <a:r>
              <a:rPr lang="en-US" sz="3200" dirty="0"/>
              <a:t>Report Overview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608183" y="1968038"/>
            <a:ext cx="10975659" cy="4041330"/>
          </a:xfrm>
        </p:spPr>
        <p:txBody>
          <a:bodyPr>
            <a:normAutofit lnSpcReduction="10000"/>
          </a:bodyPr>
          <a:lstStyle/>
          <a:p>
            <a:pPr marL="228600" indent="-2286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</a:rPr>
              <a:t>Prod Dal: Analyze Digital Enrollment site performance to identify partner trends and insights</a:t>
            </a:r>
          </a:p>
          <a:p>
            <a:pPr marL="228600" indent="-2286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</a:rPr>
              <a:t>Cadence: Generated automatically every 2 weeks </a:t>
            </a:r>
          </a:p>
          <a:p>
            <a:pPr marL="228600" indent="-2286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</a:rPr>
              <a:t>Duration covered: The current period of analysis is  </a:t>
            </a:r>
          </a:p>
          <a:p>
            <a:pPr marL="228600" indent="-2286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</a:rPr>
              <a:t>Source Data: Digital Enrollment partner site metrics (does not include partner microsite traffic)</a:t>
            </a:r>
          </a:p>
          <a:p>
            <a:pPr marL="228600" indent="-2286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</a:rPr>
              <a:t>Segments are broken down by: </a:t>
            </a:r>
          </a:p>
          <a:p>
            <a:pPr indent="-2286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</a:rPr>
              <a:t>Group A</a:t>
            </a:r>
          </a:p>
          <a:p>
            <a:pPr indent="-2286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</a:rPr>
              <a:t>Group B</a:t>
            </a:r>
          </a:p>
          <a:p>
            <a:pPr indent="-2286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</a:rPr>
              <a:t>Group C</a:t>
            </a:r>
          </a:p>
          <a:p>
            <a:pPr indent="-2286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</a:rPr>
              <a:t>Non-FI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08183" y="1456229"/>
            <a:ext cx="10975659" cy="342900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Digital Partner Performance Report</a:t>
            </a:r>
          </a:p>
        </p:txBody>
      </p:sp>
      <p:sp>
        <p:nvSpPr>
          <p:cNvPr id="8" name="Period Note">
            <a:extLst>
              <a:ext uri="{FF2B5EF4-FFF2-40B4-BE49-F238E27FC236}">
                <a16:creationId xmlns:a16="http://schemas.microsoft.com/office/drawing/2014/main" id="{E661EBE7-32FA-470B-A7D7-CBA5561F822F}"/>
              </a:ext>
            </a:extLst>
          </p:cNvPr>
          <p:cNvSpPr txBox="1"/>
          <p:nvPr/>
        </p:nvSpPr>
        <p:spPr>
          <a:xfrm>
            <a:off x="5976732" y="2968979"/>
            <a:ext cx="2137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636669"/>
                </a:solidFill>
                <a:latin typeface="+mj-lt"/>
              </a:rPr>
              <a:t>2021 YT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5324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Freeform 100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E84E5A22-E6A9-4795-81AE-FB95C15FF0AE}"/>
              </a:ext>
            </a:extLst>
          </p:cNvPr>
          <p:cNvSpPr/>
          <p:nvPr/>
        </p:nvSpPr>
        <p:spPr>
          <a:xfrm rot="5400000">
            <a:off x="8051336" y="2431050"/>
            <a:ext cx="5440077" cy="2368801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413220" y="211575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Executive Summar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1480" y="883274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ustomer Journey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518991" y="3461844"/>
            <a:ext cx="2393816" cy="1260361"/>
            <a:chOff x="9237442" y="3461844"/>
            <a:chExt cx="2667832" cy="1260361"/>
          </a:xfrm>
        </p:grpSpPr>
        <p:cxnSp>
          <p:nvCxnSpPr>
            <p:cNvPr id="95" name="Straight Connector 94"/>
            <p:cNvCxnSpPr/>
            <p:nvPr/>
          </p:nvCxnSpPr>
          <p:spPr>
            <a:xfrm>
              <a:off x="9237442" y="3461844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9265322" y="4722205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Data Note">
            <a:extLst>
              <a:ext uri="{FF2B5EF4-FFF2-40B4-BE49-F238E27FC236}">
                <a16:creationId xmlns:a16="http://schemas.microsoft.com/office/drawing/2014/main" id="{11713F13-0402-480A-8AF6-AF5592EE352A}"/>
              </a:ext>
            </a:extLst>
          </p:cNvPr>
          <p:cNvSpPr txBox="1"/>
          <p:nvPr/>
        </p:nvSpPr>
        <p:spPr>
          <a:xfrm>
            <a:off x="411480" y="6144360"/>
            <a:ext cx="2231380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rgbClr val="000000"/>
                </a:solidFill>
              </a:rPr>
              <a:t>Note: The current period of analysis is 2021 YTD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506036" y="5165433"/>
            <a:ext cx="3573915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Efficiency Metrics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512917" y="5537615"/>
            <a:ext cx="121368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Visitor to Lead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344" name="txt_visitors_leads_part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1811432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.0%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3039172" y="5537615"/>
            <a:ext cx="1574052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ead to Application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348" name="txt_leads_applications_part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4690679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99.2%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5848714" y="5537615"/>
            <a:ext cx="1955688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Application to Approved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353" name="txt_application_approved_part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7861450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3.8%</a:t>
            </a:r>
          </a:p>
        </p:txBody>
      </p:sp>
      <p:cxnSp>
        <p:nvCxnSpPr>
          <p:cNvPr id="177" name="Straight Connector 176"/>
          <p:cNvCxnSpPr/>
          <p:nvPr/>
        </p:nvCxnSpPr>
        <p:spPr>
          <a:xfrm>
            <a:off x="506036" y="4994359"/>
            <a:ext cx="591783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2242DF8F-F73B-45A5-B4BD-76E50F196FE3}"/>
              </a:ext>
            </a:extLst>
          </p:cNvPr>
          <p:cNvSpPr txBox="1"/>
          <p:nvPr/>
        </p:nvSpPr>
        <p:spPr>
          <a:xfrm>
            <a:off x="446665" y="1282835"/>
            <a:ext cx="1446718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verall Journey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37495025-2963-46C4-865B-0DD043C30C09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  <p:sp>
        <p:nvSpPr>
          <p:cNvPr id="125" name="Freeform 124">
            <a:hlinkClick r:id="" action="ppaction://noaction"/>
          </p:cNvPr>
          <p:cNvSpPr>
            <a:spLocks/>
          </p:cNvSpPr>
          <p:nvPr/>
        </p:nvSpPr>
        <p:spPr bwMode="auto">
          <a:xfrm>
            <a:off x="1435798" y="4032210"/>
            <a:ext cx="1358126" cy="824610"/>
          </a:xfrm>
          <a:custGeom>
            <a:avLst/>
            <a:gdLst>
              <a:gd name="connsiteX0" fmla="*/ 0 w 1581150"/>
              <a:gd name="connsiteY0" fmla="*/ 0 h 816952"/>
              <a:gd name="connsiteX1" fmla="*/ 1579865 w 1581150"/>
              <a:gd name="connsiteY1" fmla="*/ 0 h 816952"/>
              <a:gd name="connsiteX2" fmla="*/ 1579171 w 1581150"/>
              <a:gd name="connsiteY2" fmla="*/ 1461 h 816952"/>
              <a:gd name="connsiteX3" fmla="*/ 1577138 w 1581150"/>
              <a:gd name="connsiteY3" fmla="*/ 5739 h 816952"/>
              <a:gd name="connsiteX4" fmla="*/ 1581150 w 1581150"/>
              <a:gd name="connsiteY4" fmla="*/ 5739 h 816952"/>
              <a:gd name="connsiteX5" fmla="*/ 1225625 w 1581150"/>
              <a:gd name="connsiteY5" fmla="*/ 816952 h 816952"/>
              <a:gd name="connsiteX6" fmla="*/ 355525 w 1581150"/>
              <a:gd name="connsiteY6" fmla="*/ 816952 h 816952"/>
              <a:gd name="connsiteX7" fmla="*/ 0 w 1581150"/>
              <a:gd name="connsiteY7" fmla="*/ 5739 h 816952"/>
              <a:gd name="connsiteX8" fmla="*/ 2727 w 1581150"/>
              <a:gd name="connsiteY8" fmla="*/ 5739 h 81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150" h="816952">
                <a:moveTo>
                  <a:pt x="0" y="0"/>
                </a:moveTo>
                <a:cubicBezTo>
                  <a:pt x="0" y="0"/>
                  <a:pt x="0" y="0"/>
                  <a:pt x="1579865" y="0"/>
                </a:cubicBezTo>
                <a:cubicBezTo>
                  <a:pt x="1579865" y="0"/>
                  <a:pt x="1579865" y="0"/>
                  <a:pt x="1579171" y="1461"/>
                </a:cubicBezTo>
                <a:lnTo>
                  <a:pt x="1577138" y="5739"/>
                </a:lnTo>
                <a:lnTo>
                  <a:pt x="1581150" y="5739"/>
                </a:lnTo>
                <a:cubicBezTo>
                  <a:pt x="1581150" y="5739"/>
                  <a:pt x="1581150" y="5739"/>
                  <a:pt x="1225625" y="816952"/>
                </a:cubicBezTo>
                <a:lnTo>
                  <a:pt x="355525" y="816952"/>
                </a:lnTo>
                <a:cubicBezTo>
                  <a:pt x="355525" y="816952"/>
                  <a:pt x="355525" y="816952"/>
                  <a:pt x="0" y="5739"/>
                </a:cubicBezTo>
                <a:lnTo>
                  <a:pt x="2727" y="573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6" name="Freeform 125"/>
          <p:cNvSpPr>
            <a:spLocks/>
          </p:cNvSpPr>
          <p:nvPr/>
        </p:nvSpPr>
        <p:spPr bwMode="auto">
          <a:xfrm>
            <a:off x="1104050" y="3206980"/>
            <a:ext cx="2021622" cy="925260"/>
          </a:xfrm>
          <a:custGeom>
            <a:avLst/>
            <a:gdLst>
              <a:gd name="connsiteX0" fmla="*/ 0 w 2353600"/>
              <a:gd name="connsiteY0" fmla="*/ 0 h 916666"/>
              <a:gd name="connsiteX1" fmla="*/ 2353600 w 2353600"/>
              <a:gd name="connsiteY1" fmla="*/ 0 h 916666"/>
              <a:gd name="connsiteX2" fmla="*/ 1966733 w 2353600"/>
              <a:gd name="connsiteY2" fmla="*/ 817567 h 916666"/>
              <a:gd name="connsiteX3" fmla="*/ 1240643 w 2353600"/>
              <a:gd name="connsiteY3" fmla="*/ 817567 h 916666"/>
              <a:gd name="connsiteX4" fmla="*/ 1177753 w 2353600"/>
              <a:gd name="connsiteY4" fmla="*/ 916666 h 916666"/>
              <a:gd name="connsiteX5" fmla="*/ 1177481 w 2353600"/>
              <a:gd name="connsiteY5" fmla="*/ 916224 h 916666"/>
              <a:gd name="connsiteX6" fmla="*/ 1177209 w 2353600"/>
              <a:gd name="connsiteY6" fmla="*/ 916666 h 916666"/>
              <a:gd name="connsiteX7" fmla="*/ 1114662 w 2353600"/>
              <a:gd name="connsiteY7" fmla="*/ 817567 h 916666"/>
              <a:gd name="connsiteX8" fmla="*/ 386867 w 2353600"/>
              <a:gd name="connsiteY8" fmla="*/ 817567 h 916666"/>
              <a:gd name="connsiteX9" fmla="*/ 386381 w 2353600"/>
              <a:gd name="connsiteY9" fmla="*/ 816539 h 916666"/>
              <a:gd name="connsiteX10" fmla="*/ 385055 w 2353600"/>
              <a:gd name="connsiteY10" fmla="*/ 816539 h 916666"/>
              <a:gd name="connsiteX11" fmla="*/ 0 w 2353600"/>
              <a:gd name="connsiteY11" fmla="*/ 2266 h 916666"/>
              <a:gd name="connsiteX12" fmla="*/ 1073 w 2353600"/>
              <a:gd name="connsiteY12" fmla="*/ 2266 h 91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53600" h="916666">
                <a:moveTo>
                  <a:pt x="0" y="0"/>
                </a:moveTo>
                <a:lnTo>
                  <a:pt x="2353600" y="0"/>
                </a:lnTo>
                <a:lnTo>
                  <a:pt x="1966733" y="817567"/>
                </a:lnTo>
                <a:lnTo>
                  <a:pt x="1240643" y="817567"/>
                </a:lnTo>
                <a:lnTo>
                  <a:pt x="1177753" y="916666"/>
                </a:lnTo>
                <a:lnTo>
                  <a:pt x="1177481" y="916224"/>
                </a:lnTo>
                <a:lnTo>
                  <a:pt x="1177209" y="916666"/>
                </a:lnTo>
                <a:lnTo>
                  <a:pt x="1114662" y="817567"/>
                </a:lnTo>
                <a:lnTo>
                  <a:pt x="386867" y="817567"/>
                </a:lnTo>
                <a:lnTo>
                  <a:pt x="386381" y="816539"/>
                </a:lnTo>
                <a:lnTo>
                  <a:pt x="385055" y="816539"/>
                </a:lnTo>
                <a:lnTo>
                  <a:pt x="0" y="2266"/>
                </a:lnTo>
                <a:lnTo>
                  <a:pt x="1073" y="2266"/>
                </a:lnTo>
                <a:close/>
              </a:path>
            </a:pathLst>
          </a:custGeom>
          <a:solidFill>
            <a:srgbClr val="9B9B9B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7" name="Freeform 126"/>
          <p:cNvSpPr>
            <a:spLocks/>
          </p:cNvSpPr>
          <p:nvPr/>
        </p:nvSpPr>
        <p:spPr bwMode="auto">
          <a:xfrm>
            <a:off x="775026" y="2381748"/>
            <a:ext cx="2679671" cy="932953"/>
          </a:xfrm>
          <a:custGeom>
            <a:avLst/>
            <a:gdLst>
              <a:gd name="T0" fmla="*/ 0 w 1637"/>
              <a:gd name="T1" fmla="*/ 0 h 485"/>
              <a:gd name="T2" fmla="*/ 201 w 1637"/>
              <a:gd name="T3" fmla="*/ 431 h 485"/>
              <a:gd name="T4" fmla="*/ 785 w 1637"/>
              <a:gd name="T5" fmla="*/ 431 h 485"/>
              <a:gd name="T6" fmla="*/ 820 w 1637"/>
              <a:gd name="T7" fmla="*/ 485 h 485"/>
              <a:gd name="T8" fmla="*/ 851 w 1637"/>
              <a:gd name="T9" fmla="*/ 431 h 485"/>
              <a:gd name="T10" fmla="*/ 1435 w 1637"/>
              <a:gd name="T11" fmla="*/ 431 h 485"/>
              <a:gd name="T12" fmla="*/ 1637 w 1637"/>
              <a:gd name="T13" fmla="*/ 0 h 485"/>
              <a:gd name="T14" fmla="*/ 0 w 1637"/>
              <a:gd name="T15" fmla="*/ 0 h 485"/>
              <a:gd name="T16" fmla="*/ 0 w 1637"/>
              <a:gd name="T17" fmla="*/ 0 h 485"/>
              <a:gd name="T18" fmla="*/ 0 w 1637"/>
              <a:gd name="T19" fmla="*/ 0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37" h="485">
                <a:moveTo>
                  <a:pt x="0" y="0"/>
                </a:moveTo>
                <a:lnTo>
                  <a:pt x="201" y="431"/>
                </a:lnTo>
                <a:lnTo>
                  <a:pt x="785" y="431"/>
                </a:lnTo>
                <a:lnTo>
                  <a:pt x="820" y="485"/>
                </a:lnTo>
                <a:lnTo>
                  <a:pt x="851" y="431"/>
                </a:lnTo>
                <a:lnTo>
                  <a:pt x="1435" y="431"/>
                </a:lnTo>
                <a:lnTo>
                  <a:pt x="1637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8" name="Freeform 127"/>
          <p:cNvSpPr>
            <a:spLocks/>
          </p:cNvSpPr>
          <p:nvPr/>
        </p:nvSpPr>
        <p:spPr bwMode="auto">
          <a:xfrm>
            <a:off x="441090" y="1558443"/>
            <a:ext cx="3347541" cy="925260"/>
          </a:xfrm>
          <a:custGeom>
            <a:avLst/>
            <a:gdLst>
              <a:gd name="T0" fmla="*/ 1250 w 1250"/>
              <a:gd name="T1" fmla="*/ 0 h 294"/>
              <a:gd name="T2" fmla="*/ 1126 w 1250"/>
              <a:gd name="T3" fmla="*/ 261 h 294"/>
              <a:gd name="T4" fmla="*/ 646 w 1250"/>
              <a:gd name="T5" fmla="*/ 261 h 294"/>
              <a:gd name="T6" fmla="*/ 626 w 1250"/>
              <a:gd name="T7" fmla="*/ 294 h 294"/>
              <a:gd name="T8" fmla="*/ 605 w 1250"/>
              <a:gd name="T9" fmla="*/ 261 h 294"/>
              <a:gd name="T10" fmla="*/ 125 w 1250"/>
              <a:gd name="T11" fmla="*/ 261 h 294"/>
              <a:gd name="T12" fmla="*/ 55 w 1250"/>
              <a:gd name="T13" fmla="*/ 115 h 294"/>
              <a:gd name="T14" fmla="*/ 55 w 1250"/>
              <a:gd name="T15" fmla="*/ 115 h 294"/>
              <a:gd name="T16" fmla="*/ 0 w 1250"/>
              <a:gd name="T17" fmla="*/ 0 h 294"/>
              <a:gd name="T18" fmla="*/ 135 w 1250"/>
              <a:gd name="T19" fmla="*/ 0 h 294"/>
              <a:gd name="T20" fmla="*/ 135 w 1250"/>
              <a:gd name="T21" fmla="*/ 0 h 294"/>
              <a:gd name="T22" fmla="*/ 626 w 1250"/>
              <a:gd name="T23" fmla="*/ 0 h 294"/>
              <a:gd name="T24" fmla="*/ 1095 w 1250"/>
              <a:gd name="T25" fmla="*/ 0 h 294"/>
              <a:gd name="T26" fmla="*/ 1095 w 1250"/>
              <a:gd name="T27" fmla="*/ 0 h 294"/>
              <a:gd name="T28" fmla="*/ 1250 w 1250"/>
              <a:gd name="T29" fmla="*/ 0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50" h="294">
                <a:moveTo>
                  <a:pt x="1250" y="0"/>
                </a:moveTo>
                <a:cubicBezTo>
                  <a:pt x="1126" y="261"/>
                  <a:pt x="1126" y="261"/>
                  <a:pt x="1126" y="261"/>
                </a:cubicBezTo>
                <a:cubicBezTo>
                  <a:pt x="646" y="261"/>
                  <a:pt x="646" y="261"/>
                  <a:pt x="646" y="261"/>
                </a:cubicBezTo>
                <a:cubicBezTo>
                  <a:pt x="646" y="261"/>
                  <a:pt x="646" y="261"/>
                  <a:pt x="626" y="294"/>
                </a:cubicBezTo>
                <a:cubicBezTo>
                  <a:pt x="626" y="294"/>
                  <a:pt x="626" y="294"/>
                  <a:pt x="605" y="261"/>
                </a:cubicBezTo>
                <a:cubicBezTo>
                  <a:pt x="605" y="261"/>
                  <a:pt x="605" y="261"/>
                  <a:pt x="125" y="261"/>
                </a:cubicBezTo>
                <a:cubicBezTo>
                  <a:pt x="125" y="261"/>
                  <a:pt x="124" y="261"/>
                  <a:pt x="55" y="115"/>
                </a:cubicBezTo>
                <a:cubicBezTo>
                  <a:pt x="55" y="115"/>
                  <a:pt x="55" y="115"/>
                  <a:pt x="55" y="115"/>
                </a:cubicBezTo>
                <a:cubicBezTo>
                  <a:pt x="0" y="0"/>
                  <a:pt x="0" y="0"/>
                  <a:pt x="0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626" y="0"/>
                  <a:pt x="626" y="0"/>
                  <a:pt x="626" y="0"/>
                </a:cubicBezTo>
                <a:cubicBezTo>
                  <a:pt x="626" y="0"/>
                  <a:pt x="626" y="0"/>
                  <a:pt x="1095" y="0"/>
                </a:cubicBezTo>
                <a:cubicBezTo>
                  <a:pt x="1095" y="0"/>
                  <a:pt x="1095" y="0"/>
                  <a:pt x="1095" y="0"/>
                </a:cubicBezTo>
                <a:lnTo>
                  <a:pt x="1250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/>
          </a:p>
        </p:txBody>
      </p:sp>
      <p:sp>
        <p:nvSpPr>
          <p:cNvPr id="129" name="txt_visitors_part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1988142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</a:rPr>
              <a:t>1,964,031</a:t>
            </a:r>
            <a:endParaRPr lang="en-US" sz="2000" dirty="0">
              <a:effectLst/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1554969" y="1880590"/>
            <a:ext cx="1127387" cy="1812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/>
              <a:t>Visitors</a:t>
            </a:r>
          </a:p>
        </p:txBody>
      </p:sp>
      <p:grpSp>
        <p:nvGrpSpPr>
          <p:cNvPr id="131" name="Group 4"/>
          <p:cNvGrpSpPr>
            <a:grpSpLocks noChangeAspect="1"/>
          </p:cNvGrpSpPr>
          <p:nvPr/>
        </p:nvGrpSpPr>
        <p:grpSpPr bwMode="auto">
          <a:xfrm>
            <a:off x="1999625" y="4197511"/>
            <a:ext cx="230472" cy="212989"/>
            <a:chOff x="1229" y="3302"/>
            <a:chExt cx="196" cy="196"/>
          </a:xfrm>
        </p:grpSpPr>
        <p:sp>
          <p:nvSpPr>
            <p:cNvPr id="132" name="Oval 131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4" name="Freeform 133"/>
          <p:cNvSpPr>
            <a:spLocks noEditPoints="1"/>
          </p:cNvSpPr>
          <p:nvPr/>
        </p:nvSpPr>
        <p:spPr bwMode="auto">
          <a:xfrm>
            <a:off x="1997479" y="3368350"/>
            <a:ext cx="234764" cy="214325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35" name="Group 134"/>
          <p:cNvGrpSpPr/>
          <p:nvPr/>
        </p:nvGrpSpPr>
        <p:grpSpPr>
          <a:xfrm>
            <a:off x="1988371" y="2528651"/>
            <a:ext cx="252982" cy="232293"/>
            <a:chOff x="5972176" y="3303588"/>
            <a:chExt cx="247650" cy="246063"/>
          </a:xfrm>
        </p:grpSpPr>
        <p:sp>
          <p:nvSpPr>
            <p:cNvPr id="136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9" name="Group 8"/>
          <p:cNvGrpSpPr>
            <a:grpSpLocks noChangeAspect="1"/>
          </p:cNvGrpSpPr>
          <p:nvPr/>
        </p:nvGrpSpPr>
        <p:grpSpPr bwMode="auto">
          <a:xfrm>
            <a:off x="1963332" y="1708156"/>
            <a:ext cx="303057" cy="151212"/>
            <a:chOff x="264" y="1506"/>
            <a:chExt cx="213" cy="115"/>
          </a:xfrm>
        </p:grpSpPr>
        <p:sp>
          <p:nvSpPr>
            <p:cNvPr id="140" name="Oval 9"/>
            <p:cNvSpPr>
              <a:spLocks noChangeArrowheads="1"/>
            </p:cNvSpPr>
            <p:nvPr/>
          </p:nvSpPr>
          <p:spPr bwMode="auto">
            <a:xfrm>
              <a:off x="342" y="1506"/>
              <a:ext cx="57" cy="57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1" name="Freeform 10"/>
            <p:cNvSpPr>
              <a:spLocks/>
            </p:cNvSpPr>
            <p:nvPr/>
          </p:nvSpPr>
          <p:spPr bwMode="auto">
            <a:xfrm>
              <a:off x="324" y="1574"/>
              <a:ext cx="93" cy="47"/>
            </a:xfrm>
            <a:custGeom>
              <a:avLst/>
              <a:gdLst>
                <a:gd name="T0" fmla="*/ 0 w 56"/>
                <a:gd name="T1" fmla="*/ 28 h 28"/>
                <a:gd name="T2" fmla="*/ 28 w 56"/>
                <a:gd name="T3" fmla="*/ 0 h 28"/>
                <a:gd name="T4" fmla="*/ 56 w 56"/>
                <a:gd name="T5" fmla="*/ 28 h 28"/>
                <a:gd name="T6" fmla="*/ 0 w 56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28">
                  <a:moveTo>
                    <a:pt x="0" y="28"/>
                  </a:moveTo>
                  <a:cubicBezTo>
                    <a:pt x="0" y="13"/>
                    <a:pt x="13" y="0"/>
                    <a:pt x="28" y="0"/>
                  </a:cubicBezTo>
                  <a:cubicBezTo>
                    <a:pt x="44" y="0"/>
                    <a:pt x="56" y="13"/>
                    <a:pt x="56" y="28"/>
                  </a:cubicBezTo>
                  <a:lnTo>
                    <a:pt x="0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Freeform 11"/>
            <p:cNvSpPr>
              <a:spLocks/>
            </p:cNvSpPr>
            <p:nvPr/>
          </p:nvSpPr>
          <p:spPr bwMode="auto">
            <a:xfrm>
              <a:off x="424" y="1582"/>
              <a:ext cx="53" cy="39"/>
            </a:xfrm>
            <a:custGeom>
              <a:avLst/>
              <a:gdLst>
                <a:gd name="T0" fmla="*/ 4 w 32"/>
                <a:gd name="T1" fmla="*/ 23 h 23"/>
                <a:gd name="T2" fmla="*/ 32 w 32"/>
                <a:gd name="T3" fmla="*/ 23 h 23"/>
                <a:gd name="T4" fmla="*/ 22 w 32"/>
                <a:gd name="T5" fmla="*/ 5 h 23"/>
                <a:gd name="T6" fmla="*/ 0 w 32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3">
                  <a:moveTo>
                    <a:pt x="4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6"/>
                    <a:pt x="28" y="9"/>
                    <a:pt x="22" y="5"/>
                  </a:cubicBezTo>
                  <a:cubicBezTo>
                    <a:pt x="15" y="1"/>
                    <a:pt x="7" y="0"/>
                    <a:pt x="0" y="4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Oval 12"/>
            <p:cNvSpPr>
              <a:spLocks noChangeArrowheads="1"/>
            </p:cNvSpPr>
            <p:nvPr/>
          </p:nvSpPr>
          <p:spPr bwMode="auto">
            <a:xfrm>
              <a:off x="419" y="1530"/>
              <a:ext cx="43" cy="44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Freeform 13"/>
            <p:cNvSpPr>
              <a:spLocks/>
            </p:cNvSpPr>
            <p:nvPr/>
          </p:nvSpPr>
          <p:spPr bwMode="auto">
            <a:xfrm>
              <a:off x="264" y="1582"/>
              <a:ext cx="53" cy="39"/>
            </a:xfrm>
            <a:custGeom>
              <a:avLst/>
              <a:gdLst>
                <a:gd name="T0" fmla="*/ 28 w 32"/>
                <a:gd name="T1" fmla="*/ 23 h 23"/>
                <a:gd name="T2" fmla="*/ 0 w 32"/>
                <a:gd name="T3" fmla="*/ 23 h 23"/>
                <a:gd name="T4" fmla="*/ 10 w 32"/>
                <a:gd name="T5" fmla="*/ 5 h 23"/>
                <a:gd name="T6" fmla="*/ 32 w 32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3">
                  <a:moveTo>
                    <a:pt x="28" y="23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6"/>
                    <a:pt x="4" y="9"/>
                    <a:pt x="10" y="5"/>
                  </a:cubicBezTo>
                  <a:cubicBezTo>
                    <a:pt x="17" y="1"/>
                    <a:pt x="25" y="0"/>
                    <a:pt x="32" y="4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6" name="Oval 14"/>
            <p:cNvSpPr>
              <a:spLocks noChangeArrowheads="1"/>
            </p:cNvSpPr>
            <p:nvPr/>
          </p:nvSpPr>
          <p:spPr bwMode="auto">
            <a:xfrm>
              <a:off x="279" y="1530"/>
              <a:ext cx="43" cy="44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7" name="txt_leads_part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2875808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</a:rPr>
              <a:t>38,428</a:t>
            </a:r>
            <a:endParaRPr lang="en-US" sz="2000" dirty="0">
              <a:effectLst/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1554969" y="2777755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eads</a:t>
            </a:r>
          </a:p>
        </p:txBody>
      </p:sp>
      <p:sp>
        <p:nvSpPr>
          <p:cNvPr id="150" name="txt_total_app_part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3698757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</a:rPr>
              <a:t>114,967</a:t>
            </a:r>
            <a:endParaRPr lang="en-US" sz="2000" dirty="0">
              <a:effectLst/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1554969" y="3600703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pplications</a:t>
            </a:r>
          </a:p>
        </p:txBody>
      </p:sp>
      <p:sp>
        <p:nvSpPr>
          <p:cNvPr id="152" name="txt_tot_approved_part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4521061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</a:rPr>
              <a:t>38,893</a:t>
            </a:r>
            <a:endParaRPr lang="en-US" sz="2000" dirty="0">
              <a:effectLst/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1554969" y="4423006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pprovals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10177925" y="1099441"/>
            <a:ext cx="160901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800"/>
              </a:spcBef>
            </a:pPr>
            <a:r>
              <a:rPr lang="en-US" dirty="0">
                <a:solidFill>
                  <a:schemeClr val="bg1"/>
                </a:solidFill>
              </a:rPr>
              <a:t>Key Insights</a:t>
            </a:r>
          </a:p>
        </p:txBody>
      </p:sp>
      <p:sp>
        <p:nvSpPr>
          <p:cNvPr id="112" name="summary_third_insight_part"/>
          <p:cNvSpPr txBox="1"/>
          <p:nvPr/>
        </p:nvSpPr>
        <p:spPr>
          <a:xfrm>
            <a:off x="9687600" y="4769933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3" name="focus_product_metric_part"/>
          <p:cNvSpPr txBox="1"/>
          <p:nvPr/>
        </p:nvSpPr>
        <p:spPr>
          <a:xfrm>
            <a:off x="9916000" y="4796440"/>
            <a:ext cx="1834910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Focus on maintaining the Product Purchase Rate and analyze for a similar strategy for other products as is for Prod A Pro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4" name="summary_first_insight_part"/>
          <p:cNvSpPr txBox="1"/>
          <p:nvPr/>
        </p:nvSpPr>
        <p:spPr>
          <a:xfrm>
            <a:off x="9687600" y="1625797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5" name="summary_second_insight_part"/>
          <p:cNvSpPr txBox="1"/>
          <p:nvPr/>
        </p:nvSpPr>
        <p:spPr>
          <a:xfrm>
            <a:off x="9687600" y="3498879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16" name="focus_dropout_part"/>
          <p:cNvSpPr txBox="1"/>
          <p:nvPr/>
        </p:nvSpPr>
        <p:spPr>
          <a:xfrm>
            <a:off x="9920909" y="1652301"/>
            <a:ext cx="2034867" cy="14773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Universe has Visitor to Leads Ratio of 2.0% over time. It has not varied much and is 2.5% in May'21 vs. 2.5% in Apr'21 (*Monthly percentage calculations are 3 months rolling). Focus on improving Visitor to Leads Ratio</a:t>
            </a:r>
          </a:p>
        </p:txBody>
      </p:sp>
      <p:sp>
        <p:nvSpPr>
          <p:cNvPr id="120" name="focus_change_part"/>
          <p:cNvSpPr txBox="1"/>
          <p:nvPr/>
        </p:nvSpPr>
        <p:spPr>
          <a:xfrm>
            <a:off x="9916000" y="3538639"/>
            <a:ext cx="19968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Focus on improving Visitor to Leads Ratio. It is the lowest  (2.0%) among the  efficiency metrics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9518991" y="3461844"/>
            <a:ext cx="2393816" cy="1260361"/>
            <a:chOff x="9237442" y="3461844"/>
            <a:chExt cx="2667832" cy="1260361"/>
          </a:xfrm>
        </p:grpSpPr>
        <p:cxnSp>
          <p:nvCxnSpPr>
            <p:cNvPr id="122" name="Straight Connector 121"/>
            <p:cNvCxnSpPr/>
            <p:nvPr/>
          </p:nvCxnSpPr>
          <p:spPr>
            <a:xfrm>
              <a:off x="9237442" y="3461844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>
              <a:off x="9265322" y="4722205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4" name="Rectangle 153">
            <a:hlinkClick r:id="rId6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Universe</a:t>
            </a:r>
          </a:p>
        </p:txBody>
      </p:sp>
      <p:sp>
        <p:nvSpPr>
          <p:cNvPr id="155" name="Rectangle 154">
            <a:hlinkClick r:id="rId7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156" name="Rectangle 155">
            <a:hlinkClick r:id="rId8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158" name="Rectangle 157">
            <a:hlinkClick r:id="rId9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102" name="Rectangle 101">
            <a:hlinkClick r:id="rId10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cxnSp>
        <p:nvCxnSpPr>
          <p:cNvPr id="227" name="Straight Connector 226"/>
          <p:cNvCxnSpPr>
            <a:cxnSpLocks/>
          </p:cNvCxnSpPr>
          <p:nvPr/>
        </p:nvCxnSpPr>
        <p:spPr>
          <a:xfrm flipH="1">
            <a:off x="3948430" y="3190064"/>
            <a:ext cx="475361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TextBox 227"/>
          <p:cNvSpPr txBox="1"/>
          <p:nvPr/>
        </p:nvSpPr>
        <p:spPr>
          <a:xfrm>
            <a:off x="3941544" y="2039815"/>
            <a:ext cx="1694282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Self-Service Journey</a:t>
            </a:r>
          </a:p>
        </p:txBody>
      </p:sp>
      <p:sp>
        <p:nvSpPr>
          <p:cNvPr id="229" name="TextBox 228"/>
          <p:cNvSpPr txBox="1"/>
          <p:nvPr/>
        </p:nvSpPr>
        <p:spPr>
          <a:xfrm>
            <a:off x="3941544" y="3552593"/>
            <a:ext cx="178111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Rep-Assisted Journey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7922906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244" name="txt_self_service_approvals_part"/>
          <p:cNvSpPr/>
          <p:nvPr/>
        </p:nvSpPr>
        <p:spPr>
          <a:xfrm>
            <a:off x="7922906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9,046</a:t>
            </a:r>
          </a:p>
        </p:txBody>
      </p:sp>
      <p:grpSp>
        <p:nvGrpSpPr>
          <p:cNvPr id="245" name="Group 4"/>
          <p:cNvGrpSpPr>
            <a:grpSpLocks noChangeAspect="1"/>
          </p:cNvGrpSpPr>
          <p:nvPr/>
        </p:nvGrpSpPr>
        <p:grpSpPr bwMode="auto">
          <a:xfrm>
            <a:off x="7524728" y="2458886"/>
            <a:ext cx="280673" cy="280673"/>
            <a:chOff x="1229" y="3302"/>
            <a:chExt cx="196" cy="196"/>
          </a:xfrm>
        </p:grpSpPr>
        <p:sp>
          <p:nvSpPr>
            <p:cNvPr id="246" name="Oval 245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0" name="Rectangle 239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6158739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241" name="txt_self_service_applications_part"/>
          <p:cNvSpPr/>
          <p:nvPr/>
        </p:nvSpPr>
        <p:spPr>
          <a:xfrm>
            <a:off x="6158739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17,942</a:t>
            </a:r>
          </a:p>
        </p:txBody>
      </p:sp>
      <p:sp>
        <p:nvSpPr>
          <p:cNvPr id="242" name="Freeform 241"/>
          <p:cNvSpPr>
            <a:spLocks noEditPoints="1"/>
          </p:cNvSpPr>
          <p:nvPr/>
        </p:nvSpPr>
        <p:spPr bwMode="auto">
          <a:xfrm>
            <a:off x="5755334" y="2455840"/>
            <a:ext cx="285900" cy="282433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rgbClr val="404040"/>
          </a:solidFill>
          <a:ln w="317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4389344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235" name="txt_self_service_leads_part"/>
          <p:cNvSpPr/>
          <p:nvPr/>
        </p:nvSpPr>
        <p:spPr>
          <a:xfrm>
            <a:off x="4389344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9,498</a:t>
            </a:r>
          </a:p>
        </p:txBody>
      </p:sp>
      <p:grpSp>
        <p:nvGrpSpPr>
          <p:cNvPr id="236" name="Group 235"/>
          <p:cNvGrpSpPr/>
          <p:nvPr/>
        </p:nvGrpSpPr>
        <p:grpSpPr>
          <a:xfrm>
            <a:off x="3963754" y="2471116"/>
            <a:ext cx="308085" cy="306111"/>
            <a:chOff x="5972176" y="3303588"/>
            <a:chExt cx="247650" cy="246063"/>
          </a:xfrm>
        </p:grpSpPr>
        <p:sp>
          <p:nvSpPr>
            <p:cNvPr id="237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8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9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1" name="Rectangle 260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7922906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262" name="txt_rep_assisted_approvals_part"/>
          <p:cNvSpPr/>
          <p:nvPr/>
        </p:nvSpPr>
        <p:spPr>
          <a:xfrm>
            <a:off x="7922906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7,760</a:t>
            </a:r>
          </a:p>
        </p:txBody>
      </p:sp>
      <p:grpSp>
        <p:nvGrpSpPr>
          <p:cNvPr id="263" name="Group 4"/>
          <p:cNvGrpSpPr>
            <a:grpSpLocks noChangeAspect="1"/>
          </p:cNvGrpSpPr>
          <p:nvPr/>
        </p:nvGrpSpPr>
        <p:grpSpPr bwMode="auto">
          <a:xfrm>
            <a:off x="7524728" y="3976340"/>
            <a:ext cx="280673" cy="280673"/>
            <a:chOff x="1229" y="3302"/>
            <a:chExt cx="196" cy="196"/>
          </a:xfrm>
        </p:grpSpPr>
        <p:sp>
          <p:nvSpPr>
            <p:cNvPr id="264" name="Oval 263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5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8" name="Rectangle 257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6158739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259" name="txt_rep_assisted_applications_part"/>
          <p:cNvSpPr/>
          <p:nvPr/>
        </p:nvSpPr>
        <p:spPr>
          <a:xfrm>
            <a:off x="6158739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16,393</a:t>
            </a:r>
          </a:p>
        </p:txBody>
      </p:sp>
      <p:sp>
        <p:nvSpPr>
          <p:cNvPr id="260" name="Freeform 259"/>
          <p:cNvSpPr>
            <a:spLocks noEditPoints="1"/>
          </p:cNvSpPr>
          <p:nvPr/>
        </p:nvSpPr>
        <p:spPr bwMode="auto">
          <a:xfrm>
            <a:off x="5755334" y="3973294"/>
            <a:ext cx="285900" cy="282433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rgbClr val="404040"/>
          </a:solidFill>
          <a:ln w="317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4389344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253" name="txt_rep_assisted_leads_part"/>
          <p:cNvSpPr/>
          <p:nvPr/>
        </p:nvSpPr>
        <p:spPr>
          <a:xfrm>
            <a:off x="4389344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6,395</a:t>
            </a:r>
          </a:p>
        </p:txBody>
      </p:sp>
      <p:grpSp>
        <p:nvGrpSpPr>
          <p:cNvPr id="254" name="Group 253"/>
          <p:cNvGrpSpPr/>
          <p:nvPr/>
        </p:nvGrpSpPr>
        <p:grpSpPr>
          <a:xfrm>
            <a:off x="3963754" y="3988570"/>
            <a:ext cx="308085" cy="306111"/>
            <a:chOff x="5972176" y="3303588"/>
            <a:chExt cx="247650" cy="246063"/>
          </a:xfrm>
        </p:grpSpPr>
        <p:sp>
          <p:nvSpPr>
            <p:cNvPr id="255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2192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413220" y="211575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Comparison trends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19" name="Rectangle 18">
            <a:hlinkClick r:id="rId6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Universe</a:t>
            </a:r>
          </a:p>
        </p:txBody>
      </p:sp>
      <p:sp>
        <p:nvSpPr>
          <p:cNvPr id="21" name="Rectangle 20">
            <a:hlinkClick r:id="rId7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22" name="Rectangle 21">
            <a:hlinkClick r:id="rId8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23" name="Rectangle 22">
            <a:hlinkClick r:id="rId9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24" name="Rectangle 23">
            <a:hlinkClick r:id="rId10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11480" y="1128840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Month over Month 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946446" y="1128839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Year over Year</a:t>
            </a:r>
          </a:p>
        </p:txBody>
      </p:sp>
      <p:graphicFrame>
        <p:nvGraphicFramePr>
          <p:cNvPr id="27" name="MoM_part"/>
          <p:cNvGraphicFramePr/>
          <p:nvPr>
            <p:extLst>
              <p:ext uri="{D42A27DB-BD31-4B8C-83A1-F6EECF244321}">
                <p14:modId xmlns:p14="http://schemas.microsoft.com/office/powerpoint/2010/main" val="1352929353"/>
              </p:ext>
            </p:extLst>
          </p:nvPr>
        </p:nvGraphicFramePr>
        <p:xfrm>
          <a:off x="310680" y="1313506"/>
          <a:ext cx="5082587" cy="42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8" name="YoY_part"/>
          <p:cNvGraphicFramePr/>
          <p:nvPr>
            <p:extLst>
              <p:ext uri="{D42A27DB-BD31-4B8C-83A1-F6EECF244321}">
                <p14:modId xmlns:p14="http://schemas.microsoft.com/office/powerpoint/2010/main" val="893175821"/>
              </p:ext>
            </p:extLst>
          </p:nvPr>
        </p:nvGraphicFramePr>
        <p:xfrm>
          <a:off x="6740150" y="1313506"/>
          <a:ext cx="4846161" cy="42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cxnSp>
        <p:nvCxnSpPr>
          <p:cNvPr id="29" name="Straight Connector 28"/>
          <p:cNvCxnSpPr/>
          <p:nvPr/>
        </p:nvCxnSpPr>
        <p:spPr>
          <a:xfrm>
            <a:off x="6096000" y="1208015"/>
            <a:ext cx="0" cy="3775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5095565" y="5547360"/>
            <a:ext cx="2000871" cy="184666"/>
            <a:chOff x="5042628" y="5547360"/>
            <a:chExt cx="2000871" cy="184666"/>
          </a:xfrm>
        </p:grpSpPr>
        <p:grpSp>
          <p:nvGrpSpPr>
            <p:cNvPr id="31" name="Group 30"/>
            <p:cNvGrpSpPr/>
            <p:nvPr/>
          </p:nvGrpSpPr>
          <p:grpSpPr>
            <a:xfrm>
              <a:off x="5042628" y="5547360"/>
              <a:ext cx="684904" cy="184666"/>
              <a:chOff x="4152550" y="5452827"/>
              <a:chExt cx="684904" cy="184666"/>
            </a:xfrm>
          </p:grpSpPr>
          <p:sp>
            <p:nvSpPr>
              <p:cNvPr id="35" name="Rectangle 34"/>
              <p:cNvSpPr/>
              <p:nvPr/>
            </p:nvSpPr>
            <p:spPr>
              <a:xfrm>
                <a:off x="4152550" y="5464644"/>
                <a:ext cx="161033" cy="161033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4420673" y="5452827"/>
                <a:ext cx="41678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Leads</a:t>
                </a: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6094099" y="5547360"/>
              <a:ext cx="949400" cy="184666"/>
              <a:chOff x="4152550" y="5452827"/>
              <a:chExt cx="949400" cy="184666"/>
            </a:xfrm>
          </p:grpSpPr>
          <p:sp>
            <p:nvSpPr>
              <p:cNvPr id="33" name="Rectangle 32"/>
              <p:cNvSpPr/>
              <p:nvPr/>
            </p:nvSpPr>
            <p:spPr>
              <a:xfrm>
                <a:off x="4152550" y="5464644"/>
                <a:ext cx="161033" cy="161033"/>
              </a:xfrm>
              <a:prstGeom prst="rect">
                <a:avLst/>
              </a:prstGeom>
              <a:solidFill>
                <a:srgbClr val="6366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4420673" y="5452827"/>
                <a:ext cx="68127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Approvals</a:t>
                </a:r>
              </a:p>
            </p:txBody>
          </p:sp>
        </p:grp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7DC529D2-9638-479E-97D5-0FDF86B461EF}"/>
              </a:ext>
            </a:extLst>
          </p:cNvPr>
          <p:cNvSpPr txBox="1"/>
          <p:nvPr/>
        </p:nvSpPr>
        <p:spPr>
          <a:xfrm>
            <a:off x="8285797" y="5493379"/>
            <a:ext cx="175605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 YoY% Change: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B56F427-809E-4589-A5BC-B404243D6B5B}"/>
              </a:ext>
            </a:extLst>
          </p:cNvPr>
          <p:cNvSpPr txBox="1"/>
          <p:nvPr/>
        </p:nvSpPr>
        <p:spPr>
          <a:xfrm>
            <a:off x="8292425" y="5208459"/>
            <a:ext cx="149156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YoY% Change:</a:t>
            </a:r>
          </a:p>
        </p:txBody>
      </p:sp>
      <p:sp>
        <p:nvSpPr>
          <p:cNvPr id="40" name="Approvals YoY_part">
            <a:extLst>
              <a:ext uri="{FF2B5EF4-FFF2-40B4-BE49-F238E27FC236}">
                <a16:creationId xmlns:a16="http://schemas.microsoft.com/office/drawing/2014/main" id="{F7DD33A0-DD34-4187-A799-F9A80D9FAD0C}"/>
              </a:ext>
            </a:extLst>
          </p:cNvPr>
          <p:cNvSpPr txBox="1"/>
          <p:nvPr/>
        </p:nvSpPr>
        <p:spPr>
          <a:xfrm>
            <a:off x="10041717" y="5502844"/>
            <a:ext cx="70857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- 4.8%</a:t>
            </a:r>
          </a:p>
        </p:txBody>
      </p:sp>
      <p:sp>
        <p:nvSpPr>
          <p:cNvPr id="41" name="Leads YoY_part">
            <a:extLst>
              <a:ext uri="{FF2B5EF4-FFF2-40B4-BE49-F238E27FC236}">
                <a16:creationId xmlns:a16="http://schemas.microsoft.com/office/drawing/2014/main" id="{58180062-4725-4B06-BEC8-2D4340C29DAE}"/>
              </a:ext>
            </a:extLst>
          </p:cNvPr>
          <p:cNvSpPr txBox="1"/>
          <p:nvPr/>
        </p:nvSpPr>
        <p:spPr>
          <a:xfrm>
            <a:off x="10035093" y="5204672"/>
            <a:ext cx="70857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- 4.8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6452400-DB70-48FC-89F2-837020632555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2358780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product_heading_part"/>
          <p:cNvSpPr txBox="1"/>
          <p:nvPr/>
        </p:nvSpPr>
        <p:spPr>
          <a:xfrm>
            <a:off x="413220" y="212430"/>
            <a:ext cx="687201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Distribution</a:t>
            </a:r>
          </a:p>
        </p:txBody>
      </p:sp>
      <p:sp>
        <p:nvSpPr>
          <p:cNvPr id="71" name="Freeform 6"/>
          <p:cNvSpPr>
            <a:spLocks/>
          </p:cNvSpPr>
          <p:nvPr/>
        </p:nvSpPr>
        <p:spPr bwMode="auto">
          <a:xfrm>
            <a:off x="6203508" y="6522854"/>
            <a:ext cx="54418" cy="115366"/>
          </a:xfrm>
          <a:custGeom>
            <a:avLst/>
            <a:gdLst>
              <a:gd name="T0" fmla="*/ 0 w 25"/>
              <a:gd name="T1" fmla="*/ 0 h 53"/>
              <a:gd name="T2" fmla="*/ 25 w 25"/>
              <a:gd name="T3" fmla="*/ 27 h 53"/>
              <a:gd name="T4" fmla="*/ 0 w 25"/>
              <a:gd name="T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53">
                <a:moveTo>
                  <a:pt x="0" y="0"/>
                </a:moveTo>
                <a:lnTo>
                  <a:pt x="25" y="27"/>
                </a:lnTo>
                <a:lnTo>
                  <a:pt x="0" y="53"/>
                </a:lnTo>
              </a:path>
            </a:pathLst>
          </a:custGeom>
          <a:noFill/>
          <a:ln w="19050" cap="rnd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" name="Freeform 8"/>
          <p:cNvSpPr>
            <a:spLocks/>
          </p:cNvSpPr>
          <p:nvPr/>
        </p:nvSpPr>
        <p:spPr bwMode="auto">
          <a:xfrm>
            <a:off x="5934075" y="6522854"/>
            <a:ext cx="54418" cy="115366"/>
          </a:xfrm>
          <a:custGeom>
            <a:avLst/>
            <a:gdLst>
              <a:gd name="T0" fmla="*/ 25 w 25"/>
              <a:gd name="T1" fmla="*/ 0 h 53"/>
              <a:gd name="T2" fmla="*/ 0 w 25"/>
              <a:gd name="T3" fmla="*/ 27 h 53"/>
              <a:gd name="T4" fmla="*/ 25 w 25"/>
              <a:gd name="T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53">
                <a:moveTo>
                  <a:pt x="25" y="0"/>
                </a:moveTo>
                <a:lnTo>
                  <a:pt x="0" y="27"/>
                </a:lnTo>
                <a:lnTo>
                  <a:pt x="25" y="53"/>
                </a:lnTo>
              </a:path>
            </a:pathLst>
          </a:custGeom>
          <a:noFill/>
          <a:ln w="19050" cap="rnd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" name="Rectangle 72">
            <a:hlinkClick r:id="" action="ppaction://hlinkshowjump?jump=previousslide"/>
          </p:cNvPr>
          <p:cNvSpPr/>
          <p:nvPr/>
        </p:nvSpPr>
        <p:spPr>
          <a:xfrm>
            <a:off x="5878291" y="6489924"/>
            <a:ext cx="181226" cy="18122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>
            <a:hlinkClick r:id="" action="ppaction://hlinkshowjump?jump=nextslide"/>
          </p:cNvPr>
          <p:cNvSpPr/>
          <p:nvPr/>
        </p:nvSpPr>
        <p:spPr>
          <a:xfrm>
            <a:off x="6140104" y="6489924"/>
            <a:ext cx="181226" cy="18122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20D642A9-F137-441D-BEF1-2BF04A079895}"/>
              </a:ext>
            </a:extLst>
          </p:cNvPr>
          <p:cNvSpPr/>
          <p:nvPr/>
        </p:nvSpPr>
        <p:spPr>
          <a:xfrm rot="5400000">
            <a:off x="8051335" y="2431051"/>
            <a:ext cx="5440077" cy="2368800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ECED3CC-1E91-4B9B-9938-FBF0C4629727}"/>
              </a:ext>
            </a:extLst>
          </p:cNvPr>
          <p:cNvSpPr txBox="1"/>
          <p:nvPr/>
        </p:nvSpPr>
        <p:spPr>
          <a:xfrm>
            <a:off x="9901697" y="1251855"/>
            <a:ext cx="187151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800"/>
              </a:spcBef>
            </a:pPr>
            <a:r>
              <a:rPr lang="en-US" sz="1400" b="1" dirty="0">
                <a:solidFill>
                  <a:schemeClr val="bg1"/>
                </a:solidFill>
              </a:rPr>
              <a:t>Insight</a:t>
            </a:r>
          </a:p>
        </p:txBody>
      </p:sp>
      <p:sp>
        <p:nvSpPr>
          <p:cNvPr id="102" name="product_insight_part">
            <a:extLst>
              <a:ext uri="{FF2B5EF4-FFF2-40B4-BE49-F238E27FC236}">
                <a16:creationId xmlns:a16="http://schemas.microsoft.com/office/drawing/2014/main" id="{94C5F2AE-6F33-466F-BBB9-57B58A540EB0}"/>
              </a:ext>
            </a:extLst>
          </p:cNvPr>
          <p:cNvSpPr/>
          <p:nvPr/>
        </p:nvSpPr>
        <p:spPr>
          <a:xfrm>
            <a:off x="9901697" y="1571802"/>
            <a:ext cx="1770487" cy="276998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Prod A Pro has a Purchase share of 17.3% and it is ranked 1 among all products. With Add to Cart share of 16.3% and a rank of 5, Prod A Pro has highest Product Purchase Rate of 106.6%. Focus on maintaining the Product Purchase Rate and analyze for a similar strategy for other products as is for Prod A Pro.</a:t>
            </a:r>
          </a:p>
        </p:txBody>
      </p:sp>
      <p:sp>
        <p:nvSpPr>
          <p:cNvPr id="134" name="Freeform 133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135" name="Rectangle 134">
            <a:hlinkClick r:id="rId6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Universe</a:t>
            </a:r>
          </a:p>
        </p:txBody>
      </p:sp>
      <p:sp>
        <p:nvSpPr>
          <p:cNvPr id="136" name="Rectangle 135">
            <a:hlinkClick r:id="rId7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137" name="Rectangle 136">
            <a:hlinkClick r:id="rId8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138" name="Rectangle 137">
            <a:hlinkClick r:id="rId9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139" name="Rectangle 138">
            <a:hlinkClick r:id="rId10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sp>
        <p:nvSpPr>
          <p:cNvPr id="140" name="Approvals Note">
            <a:extLst>
              <a:ext uri="{FF2B5EF4-FFF2-40B4-BE49-F238E27FC236}">
                <a16:creationId xmlns:a16="http://schemas.microsoft.com/office/drawing/2014/main" id="{11713F13-0402-480A-8AF6-AF5592EE352A}"/>
              </a:ext>
            </a:extLst>
          </p:cNvPr>
          <p:cNvSpPr txBox="1"/>
          <p:nvPr/>
        </p:nvSpPr>
        <p:spPr>
          <a:xfrm>
            <a:off x="411480" y="6144360"/>
            <a:ext cx="59249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rovals and purchases are not a direct 1:1 correlation, as one merchant could purchase multiple devices</a:t>
            </a:r>
          </a:p>
        </p:txBody>
      </p:sp>
      <p:pic>
        <p:nvPicPr>
          <p:cNvPr id="141" name="Picture 81" descr="Image result for firstdata stati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325" y="1791327"/>
            <a:ext cx="652136" cy="35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2" name="Rectangle 14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1871105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A</a:t>
            </a:r>
          </a:p>
        </p:txBody>
      </p:sp>
      <p:pic>
        <p:nvPicPr>
          <p:cNvPr id="143" name="Picture 79" descr="Related image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7" t="14007" r="16013" b="7100"/>
          <a:stretch/>
        </p:blipFill>
        <p:spPr bwMode="auto">
          <a:xfrm>
            <a:off x="647324" y="2542025"/>
            <a:ext cx="812138" cy="399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" name="Rectangle 143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2616160"/>
            <a:ext cx="46968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B</a:t>
            </a:r>
          </a:p>
        </p:txBody>
      </p:sp>
      <p:pic>
        <p:nvPicPr>
          <p:cNvPr id="145" name="Picture 77" descr="Image result for firstdata flex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55" r="27523" b="10288"/>
          <a:stretch/>
        </p:blipFill>
        <p:spPr bwMode="auto">
          <a:xfrm rot="20670894">
            <a:off x="854350" y="3257237"/>
            <a:ext cx="398086" cy="45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Rectangle 14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3361215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C</a:t>
            </a:r>
          </a:p>
        </p:txBody>
      </p:sp>
      <p:pic>
        <p:nvPicPr>
          <p:cNvPr id="147" name="Picture 75" descr="Related image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82" r="18313" b="8735"/>
          <a:stretch/>
        </p:blipFill>
        <p:spPr bwMode="auto">
          <a:xfrm>
            <a:off x="810577" y="3987067"/>
            <a:ext cx="485632" cy="407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Rectangle 147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4106270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D</a:t>
            </a:r>
          </a:p>
        </p:txBody>
      </p:sp>
      <p:pic>
        <p:nvPicPr>
          <p:cNvPr id="149" name="Picture 148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1" t="-4997" r="18473" b="-2"/>
          <a:stretch/>
        </p:blipFill>
        <p:spPr>
          <a:xfrm>
            <a:off x="655827" y="4671392"/>
            <a:ext cx="795131" cy="587998"/>
          </a:xfrm>
          <a:prstGeom prst="rect">
            <a:avLst/>
          </a:prstGeom>
        </p:spPr>
      </p:pic>
      <p:sp>
        <p:nvSpPr>
          <p:cNvPr id="150" name="Rectangle 14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4851325"/>
            <a:ext cx="496033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A 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5511743"/>
            <a:ext cx="46968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E</a:t>
            </a:r>
          </a:p>
        </p:txBody>
      </p:sp>
      <p:pic>
        <p:nvPicPr>
          <p:cNvPr id="152" name="Picture 15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37" y="5472576"/>
            <a:ext cx="665512" cy="458598"/>
          </a:xfrm>
          <a:prstGeom prst="rect">
            <a:avLst/>
          </a:prstGeom>
        </p:spPr>
      </p:pic>
      <p:sp>
        <p:nvSpPr>
          <p:cNvPr id="154" name="TextBox 153"/>
          <p:cNvSpPr txBox="1"/>
          <p:nvPr/>
        </p:nvSpPr>
        <p:spPr>
          <a:xfrm>
            <a:off x="5254966" y="1333890"/>
            <a:ext cx="98318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o cart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3178238" y="1333890"/>
            <a:ext cx="86902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ews</a:t>
            </a:r>
          </a:p>
        </p:txBody>
      </p:sp>
      <p:grpSp>
        <p:nvGrpSpPr>
          <p:cNvPr id="156" name="Group 11"/>
          <p:cNvGrpSpPr>
            <a:grpSpLocks noChangeAspect="1"/>
          </p:cNvGrpSpPr>
          <p:nvPr/>
        </p:nvGrpSpPr>
        <p:grpSpPr bwMode="auto">
          <a:xfrm>
            <a:off x="5540102" y="958797"/>
            <a:ext cx="355603" cy="360363"/>
            <a:chOff x="344" y="1999"/>
            <a:chExt cx="224" cy="227"/>
          </a:xfrm>
        </p:grpSpPr>
        <p:sp>
          <p:nvSpPr>
            <p:cNvPr id="254" name="Freeform 12"/>
            <p:cNvSpPr>
              <a:spLocks/>
            </p:cNvSpPr>
            <p:nvPr/>
          </p:nvSpPr>
          <p:spPr bwMode="auto">
            <a:xfrm>
              <a:off x="374" y="2049"/>
              <a:ext cx="194" cy="108"/>
            </a:xfrm>
            <a:custGeom>
              <a:avLst/>
              <a:gdLst>
                <a:gd name="T0" fmla="*/ 0 w 79"/>
                <a:gd name="T1" fmla="*/ 0 h 44"/>
                <a:gd name="T2" fmla="*/ 74 w 79"/>
                <a:gd name="T3" fmla="*/ 0 h 44"/>
                <a:gd name="T4" fmla="*/ 78 w 79"/>
                <a:gd name="T5" fmla="*/ 2 h 44"/>
                <a:gd name="T6" fmla="*/ 78 w 79"/>
                <a:gd name="T7" fmla="*/ 5 h 44"/>
                <a:gd name="T8" fmla="*/ 70 w 79"/>
                <a:gd name="T9" fmla="*/ 35 h 44"/>
                <a:gd name="T10" fmla="*/ 58 w 79"/>
                <a:gd name="T11" fmla="*/ 44 h 44"/>
                <a:gd name="T12" fmla="*/ 9 w 79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44">
                  <a:moveTo>
                    <a:pt x="0" y="0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76" y="0"/>
                    <a:pt x="77" y="1"/>
                    <a:pt x="78" y="2"/>
                  </a:cubicBezTo>
                  <a:cubicBezTo>
                    <a:pt x="78" y="3"/>
                    <a:pt x="79" y="4"/>
                    <a:pt x="78" y="5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69" y="40"/>
                    <a:pt x="64" y="44"/>
                    <a:pt x="58" y="44"/>
                  </a:cubicBezTo>
                  <a:cubicBezTo>
                    <a:pt x="9" y="44"/>
                    <a:pt x="9" y="44"/>
                    <a:pt x="9" y="44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Freeform 13"/>
            <p:cNvSpPr>
              <a:spLocks/>
            </p:cNvSpPr>
            <p:nvPr/>
          </p:nvSpPr>
          <p:spPr bwMode="auto">
            <a:xfrm>
              <a:off x="344" y="1999"/>
              <a:ext cx="187" cy="187"/>
            </a:xfrm>
            <a:custGeom>
              <a:avLst/>
              <a:gdLst>
                <a:gd name="T0" fmla="*/ 0 w 76"/>
                <a:gd name="T1" fmla="*/ 0 h 76"/>
                <a:gd name="T2" fmla="*/ 1 w 76"/>
                <a:gd name="T3" fmla="*/ 0 h 76"/>
                <a:gd name="T4" fmla="*/ 9 w 76"/>
                <a:gd name="T5" fmla="*/ 6 h 76"/>
                <a:gd name="T6" fmla="*/ 22 w 76"/>
                <a:gd name="T7" fmla="*/ 70 h 76"/>
                <a:gd name="T8" fmla="*/ 30 w 76"/>
                <a:gd name="T9" fmla="*/ 76 h 76"/>
                <a:gd name="T10" fmla="*/ 76 w 76"/>
                <a:gd name="T1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76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8" y="3"/>
                    <a:pt x="9" y="6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3" y="73"/>
                    <a:pt x="26" y="76"/>
                    <a:pt x="30" y="76"/>
                  </a:cubicBezTo>
                  <a:cubicBezTo>
                    <a:pt x="76" y="76"/>
                    <a:pt x="76" y="76"/>
                    <a:pt x="76" y="76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Oval 14"/>
            <p:cNvSpPr>
              <a:spLocks noChangeArrowheads="1"/>
            </p:cNvSpPr>
            <p:nvPr/>
          </p:nvSpPr>
          <p:spPr bwMode="auto">
            <a:xfrm>
              <a:off x="398" y="2196"/>
              <a:ext cx="30" cy="30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Oval 15"/>
            <p:cNvSpPr>
              <a:spLocks noChangeArrowheads="1"/>
            </p:cNvSpPr>
            <p:nvPr/>
          </p:nvSpPr>
          <p:spPr bwMode="auto">
            <a:xfrm>
              <a:off x="497" y="2196"/>
              <a:ext cx="29" cy="30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57" name="Group 4"/>
          <p:cNvGrpSpPr>
            <a:grpSpLocks noChangeAspect="1"/>
          </p:cNvGrpSpPr>
          <p:nvPr/>
        </p:nvGrpSpPr>
        <p:grpSpPr bwMode="auto">
          <a:xfrm>
            <a:off x="7714076" y="958797"/>
            <a:ext cx="352425" cy="360363"/>
            <a:chOff x="1604" y="1992"/>
            <a:chExt cx="222" cy="227"/>
          </a:xfrm>
        </p:grpSpPr>
        <p:sp>
          <p:nvSpPr>
            <p:cNvPr id="251" name="Freeform 250"/>
            <p:cNvSpPr>
              <a:spLocks/>
            </p:cNvSpPr>
            <p:nvPr/>
          </p:nvSpPr>
          <p:spPr bwMode="auto">
            <a:xfrm>
              <a:off x="1604" y="2061"/>
              <a:ext cx="222" cy="158"/>
            </a:xfrm>
            <a:custGeom>
              <a:avLst/>
              <a:gdLst>
                <a:gd name="T0" fmla="*/ 77 w 90"/>
                <a:gd name="T1" fmla="*/ 64 h 64"/>
                <a:gd name="T2" fmla="*/ 13 w 90"/>
                <a:gd name="T3" fmla="*/ 64 h 64"/>
                <a:gd name="T4" fmla="*/ 4 w 90"/>
                <a:gd name="T5" fmla="*/ 60 h 64"/>
                <a:gd name="T6" fmla="*/ 1 w 90"/>
                <a:gd name="T7" fmla="*/ 51 h 64"/>
                <a:gd name="T8" fmla="*/ 7 w 90"/>
                <a:gd name="T9" fmla="*/ 0 h 64"/>
                <a:gd name="T10" fmla="*/ 83 w 90"/>
                <a:gd name="T11" fmla="*/ 0 h 64"/>
                <a:gd name="T12" fmla="*/ 89 w 90"/>
                <a:gd name="T13" fmla="*/ 51 h 64"/>
                <a:gd name="T14" fmla="*/ 86 w 90"/>
                <a:gd name="T15" fmla="*/ 60 h 64"/>
                <a:gd name="T16" fmla="*/ 77 w 90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64">
                  <a:moveTo>
                    <a:pt x="77" y="64"/>
                  </a:moveTo>
                  <a:cubicBezTo>
                    <a:pt x="13" y="64"/>
                    <a:pt x="13" y="64"/>
                    <a:pt x="13" y="64"/>
                  </a:cubicBezTo>
                  <a:cubicBezTo>
                    <a:pt x="9" y="64"/>
                    <a:pt x="6" y="63"/>
                    <a:pt x="4" y="60"/>
                  </a:cubicBezTo>
                  <a:cubicBezTo>
                    <a:pt x="1" y="57"/>
                    <a:pt x="0" y="54"/>
                    <a:pt x="1" y="5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90" y="54"/>
                    <a:pt x="89" y="57"/>
                    <a:pt x="86" y="60"/>
                  </a:cubicBezTo>
                  <a:cubicBezTo>
                    <a:pt x="84" y="63"/>
                    <a:pt x="81" y="64"/>
                    <a:pt x="77" y="64"/>
                  </a:cubicBezTo>
                  <a:close/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2" name="Freeform 251"/>
            <p:cNvSpPr>
              <a:spLocks/>
            </p:cNvSpPr>
            <p:nvPr/>
          </p:nvSpPr>
          <p:spPr bwMode="auto">
            <a:xfrm>
              <a:off x="1621" y="2037"/>
              <a:ext cx="188" cy="24"/>
            </a:xfrm>
            <a:custGeom>
              <a:avLst/>
              <a:gdLst>
                <a:gd name="T0" fmla="*/ 14 w 76"/>
                <a:gd name="T1" fmla="*/ 0 h 10"/>
                <a:gd name="T2" fmla="*/ 8 w 76"/>
                <a:gd name="T3" fmla="*/ 0 h 10"/>
                <a:gd name="T4" fmla="*/ 5 w 76"/>
                <a:gd name="T5" fmla="*/ 2 h 10"/>
                <a:gd name="T6" fmla="*/ 0 w 76"/>
                <a:gd name="T7" fmla="*/ 10 h 10"/>
                <a:gd name="T8" fmla="*/ 76 w 76"/>
                <a:gd name="T9" fmla="*/ 10 h 10"/>
                <a:gd name="T10" fmla="*/ 71 w 76"/>
                <a:gd name="T11" fmla="*/ 2 h 10"/>
                <a:gd name="T12" fmla="*/ 68 w 76"/>
                <a:gd name="T13" fmla="*/ 0 h 10"/>
                <a:gd name="T14" fmla="*/ 62 w 76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0">
                  <a:moveTo>
                    <a:pt x="1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1"/>
                    <a:pt x="5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0" y="1"/>
                    <a:pt x="69" y="0"/>
                    <a:pt x="68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3" name="Freeform 252"/>
            <p:cNvSpPr>
              <a:spLocks/>
            </p:cNvSpPr>
            <p:nvPr/>
          </p:nvSpPr>
          <p:spPr bwMode="auto">
            <a:xfrm>
              <a:off x="1676" y="1992"/>
              <a:ext cx="78" cy="69"/>
            </a:xfrm>
            <a:custGeom>
              <a:avLst/>
              <a:gdLst>
                <a:gd name="T0" fmla="*/ 32 w 32"/>
                <a:gd name="T1" fmla="*/ 16 h 28"/>
                <a:gd name="T2" fmla="*/ 16 w 32"/>
                <a:gd name="T3" fmla="*/ 0 h 28"/>
                <a:gd name="T4" fmla="*/ 0 w 32"/>
                <a:gd name="T5" fmla="*/ 16 h 28"/>
                <a:gd name="T6" fmla="*/ 0 w 32"/>
                <a:gd name="T7" fmla="*/ 28 h 28"/>
                <a:gd name="T8" fmla="*/ 32 w 32"/>
                <a:gd name="T9" fmla="*/ 28 h 28"/>
                <a:gd name="T10" fmla="*/ 32 w 32"/>
                <a:gd name="T11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8">
                  <a:moveTo>
                    <a:pt x="32" y="16"/>
                  </a:move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2" y="28"/>
                    <a:pt x="32" y="28"/>
                    <a:pt x="32" y="28"/>
                  </a:cubicBezTo>
                  <a:lnTo>
                    <a:pt x="32" y="16"/>
                  </a:lnTo>
                  <a:close/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58" name="Group 259">
            <a:extLst>
              <a:ext uri="{FF2B5EF4-FFF2-40B4-BE49-F238E27FC236}">
                <a16:creationId xmlns:a16="http://schemas.microsoft.com/office/drawing/2014/main" id="{10CD3651-2B5F-4561-AF35-3D3DA37DD2C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58035" y="990547"/>
            <a:ext cx="298450" cy="296862"/>
            <a:chOff x="1758" y="909"/>
            <a:chExt cx="188" cy="187"/>
          </a:xfrm>
        </p:grpSpPr>
        <p:sp>
          <p:nvSpPr>
            <p:cNvPr id="244" name="Freeform 260">
              <a:extLst>
                <a:ext uri="{FF2B5EF4-FFF2-40B4-BE49-F238E27FC236}">
                  <a16:creationId xmlns:a16="http://schemas.microsoft.com/office/drawing/2014/main" id="{BE7CBB2B-BA7E-4B43-AE24-6AE8498D2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" y="909"/>
              <a:ext cx="24" cy="25"/>
            </a:xfrm>
            <a:custGeom>
              <a:avLst/>
              <a:gdLst>
                <a:gd name="T0" fmla="*/ 0 w 12"/>
                <a:gd name="T1" fmla="*/ 12 h 12"/>
                <a:gd name="T2" fmla="*/ 0 w 12"/>
                <a:gd name="T3" fmla="*/ 4 h 12"/>
                <a:gd name="T4" fmla="*/ 4 w 12"/>
                <a:gd name="T5" fmla="*/ 0 h 12"/>
                <a:gd name="T6" fmla="*/ 12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261">
              <a:extLst>
                <a:ext uri="{FF2B5EF4-FFF2-40B4-BE49-F238E27FC236}">
                  <a16:creationId xmlns:a16="http://schemas.microsoft.com/office/drawing/2014/main" id="{E8CDB7AD-4195-48B7-962A-4D2314A1F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" y="909"/>
              <a:ext cx="25" cy="25"/>
            </a:xfrm>
            <a:custGeom>
              <a:avLst/>
              <a:gdLst>
                <a:gd name="T0" fmla="*/ 12 w 12"/>
                <a:gd name="T1" fmla="*/ 12 h 12"/>
                <a:gd name="T2" fmla="*/ 12 w 12"/>
                <a:gd name="T3" fmla="*/ 4 h 12"/>
                <a:gd name="T4" fmla="*/ 8 w 12"/>
                <a:gd name="T5" fmla="*/ 0 h 12"/>
                <a:gd name="T6" fmla="*/ 0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0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262">
              <a:extLst>
                <a:ext uri="{FF2B5EF4-FFF2-40B4-BE49-F238E27FC236}">
                  <a16:creationId xmlns:a16="http://schemas.microsoft.com/office/drawing/2014/main" id="{6894E76D-10F8-4615-8EA0-826DB1913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" y="1072"/>
              <a:ext cx="24" cy="24"/>
            </a:xfrm>
            <a:custGeom>
              <a:avLst/>
              <a:gdLst>
                <a:gd name="T0" fmla="*/ 0 w 12"/>
                <a:gd name="T1" fmla="*/ 0 h 12"/>
                <a:gd name="T2" fmla="*/ 0 w 12"/>
                <a:gd name="T3" fmla="*/ 8 h 12"/>
                <a:gd name="T4" fmla="*/ 4 w 12"/>
                <a:gd name="T5" fmla="*/ 12 h 12"/>
                <a:gd name="T6" fmla="*/ 12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2"/>
                    <a:pt x="4" y="12"/>
                  </a:cubicBezTo>
                  <a:cubicBezTo>
                    <a:pt x="12" y="12"/>
                    <a:pt x="12" y="12"/>
                    <a:pt x="12" y="12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263">
              <a:extLst>
                <a:ext uri="{FF2B5EF4-FFF2-40B4-BE49-F238E27FC236}">
                  <a16:creationId xmlns:a16="http://schemas.microsoft.com/office/drawing/2014/main" id="{B210F6D3-422D-404D-8B51-D1B5F74BB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" y="1072"/>
              <a:ext cx="25" cy="24"/>
            </a:xfrm>
            <a:custGeom>
              <a:avLst/>
              <a:gdLst>
                <a:gd name="T0" fmla="*/ 12 w 12"/>
                <a:gd name="T1" fmla="*/ 0 h 12"/>
                <a:gd name="T2" fmla="*/ 12 w 12"/>
                <a:gd name="T3" fmla="*/ 8 h 12"/>
                <a:gd name="T4" fmla="*/ 8 w 12"/>
                <a:gd name="T5" fmla="*/ 12 h 12"/>
                <a:gd name="T6" fmla="*/ 0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cubicBezTo>
                    <a:pt x="12" y="8"/>
                    <a:pt x="12" y="8"/>
                    <a:pt x="12" y="8"/>
                  </a:cubicBezTo>
                  <a:cubicBezTo>
                    <a:pt x="12" y="10"/>
                    <a:pt x="10" y="12"/>
                    <a:pt x="8" y="12"/>
                  </a:cubicBezTo>
                  <a:cubicBezTo>
                    <a:pt x="0" y="12"/>
                    <a:pt x="0" y="12"/>
                    <a:pt x="0" y="12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Oval 264">
              <a:extLst>
                <a:ext uri="{FF2B5EF4-FFF2-40B4-BE49-F238E27FC236}">
                  <a16:creationId xmlns:a16="http://schemas.microsoft.com/office/drawing/2014/main" id="{C1441970-5706-442E-AA32-7157D55C8D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3" y="974"/>
              <a:ext cx="57" cy="57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Oval 265">
              <a:extLst>
                <a:ext uri="{FF2B5EF4-FFF2-40B4-BE49-F238E27FC236}">
                  <a16:creationId xmlns:a16="http://schemas.microsoft.com/office/drawing/2014/main" id="{FC8CAA09-614B-4A1D-95A0-F2482C747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0" y="1001"/>
              <a:ext cx="4" cy="4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Oval 266">
              <a:extLst>
                <a:ext uri="{FF2B5EF4-FFF2-40B4-BE49-F238E27FC236}">
                  <a16:creationId xmlns:a16="http://schemas.microsoft.com/office/drawing/2014/main" id="{AD77BBAE-E74E-45FF-8636-B89D45913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2" y="954"/>
              <a:ext cx="160" cy="97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9" name="TextBox 158"/>
          <p:cNvSpPr txBox="1"/>
          <p:nvPr/>
        </p:nvSpPr>
        <p:spPr>
          <a:xfrm>
            <a:off x="7077452" y="1363674"/>
            <a:ext cx="178855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urchase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165840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42" name="txt_station_views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7%</a:t>
            </a:r>
          </a:p>
        </p:txBody>
      </p:sp>
      <p:sp>
        <p:nvSpPr>
          <p:cNvPr id="243" name="txt_station_views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196239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9,427)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165840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39" name="txt_add_to_cart_station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0%</a:t>
            </a:r>
          </a:p>
        </p:txBody>
      </p:sp>
      <p:sp>
        <p:nvSpPr>
          <p:cNvPr id="240" name="txt_add_to_cart_station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196239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9,740)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165840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36" name="txt_device_station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8%</a:t>
            </a:r>
          </a:p>
        </p:txBody>
      </p:sp>
      <p:sp>
        <p:nvSpPr>
          <p:cNvPr id="237" name="txt_device_station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196239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9,441)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2403458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30" name="txt_mini_views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3%</a:t>
            </a:r>
          </a:p>
        </p:txBody>
      </p:sp>
      <p:sp>
        <p:nvSpPr>
          <p:cNvPr id="231" name="txt_mini_views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270744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8,397)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2403458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27" name="txt_add_to_cart_mini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5%</a:t>
            </a:r>
          </a:p>
        </p:txBody>
      </p:sp>
      <p:sp>
        <p:nvSpPr>
          <p:cNvPr id="228" name="txt_add_to_cart_mini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270744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40,884)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2403458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4" name="txt_device_mini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6%</a:t>
            </a:r>
          </a:p>
        </p:txBody>
      </p:sp>
      <p:sp>
        <p:nvSpPr>
          <p:cNvPr id="225" name="txt_device_mini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270744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8,914)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314851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8" name="txt_flex_views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2%</a:t>
            </a:r>
          </a:p>
        </p:txBody>
      </p:sp>
      <p:sp>
        <p:nvSpPr>
          <p:cNvPr id="219" name="txt_flex_views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345250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40,455)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314851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15" name="txt_add_to_cart_flex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1%</a:t>
            </a:r>
          </a:p>
        </p:txBody>
      </p:sp>
      <p:sp>
        <p:nvSpPr>
          <p:cNvPr id="216" name="txt_add_to_cart_flex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345250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7,542)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314851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2" name="txt_device_flex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4%</a:t>
            </a:r>
          </a:p>
        </p:txBody>
      </p:sp>
      <p:sp>
        <p:nvSpPr>
          <p:cNvPr id="213" name="txt_device_flex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345250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8,455)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3893568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6" name="txt_go_views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3%</a:t>
            </a:r>
          </a:p>
        </p:txBody>
      </p:sp>
      <p:sp>
        <p:nvSpPr>
          <p:cNvPr id="207" name="txt_go_views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419755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40,735)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3893568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03" name="txt_add_to_cart_go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3%</a:t>
            </a:r>
          </a:p>
        </p:txBody>
      </p:sp>
      <p:sp>
        <p:nvSpPr>
          <p:cNvPr id="204" name="txt_add_to_cart_go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4197559"/>
            <a:ext cx="7553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8,162)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3893568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0" name="txt_device_clover_go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9%</a:t>
            </a:r>
          </a:p>
        </p:txBody>
      </p:sp>
      <p:sp>
        <p:nvSpPr>
          <p:cNvPr id="201" name="txt_device_clover_go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4197559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9,616)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463862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4" name="txt_station_pro_views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9%</a:t>
            </a:r>
          </a:p>
        </p:txBody>
      </p:sp>
      <p:sp>
        <p:nvSpPr>
          <p:cNvPr id="195" name="txt_station_pro_views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494261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7,487)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463862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91" name="txt_add_to_cart_station_pro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3%</a:t>
            </a:r>
          </a:p>
        </p:txBody>
      </p:sp>
      <p:sp>
        <p:nvSpPr>
          <p:cNvPr id="192" name="txt_add_to_cart_station_pro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37157" y="494261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8,155)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463862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8" name="txt_device_stationpro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3%</a:t>
            </a:r>
          </a:p>
        </p:txBody>
      </p:sp>
      <p:sp>
        <p:nvSpPr>
          <p:cNvPr id="189" name="txt_device_stationpro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595684" y="4942614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40,657)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5383680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2" name="txt_account_only_views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6%</a:t>
            </a:r>
          </a:p>
        </p:txBody>
      </p:sp>
      <p:sp>
        <p:nvSpPr>
          <p:cNvPr id="183" name="txt_account_only_views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37091" y="5687671"/>
            <a:ext cx="7553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9,055)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5383680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73" name="txt_add_to_cart_account_only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N/A</a:t>
            </a:r>
          </a:p>
        </p:txBody>
      </p:sp>
      <p:sp>
        <p:nvSpPr>
          <p:cNvPr id="174" name="txt_add_to_cart_account_only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517307" y="5687671"/>
            <a:ext cx="595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N/A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5383680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0" name="txt_account_only_purchases_contrib_par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1%</a:t>
            </a:r>
          </a:p>
        </p:txBody>
      </p:sp>
      <p:sp>
        <p:nvSpPr>
          <p:cNvPr id="171" name="txt_account_only_purchases_par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01390" y="5687671"/>
            <a:ext cx="7439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37,711)</a:t>
            </a:r>
          </a:p>
        </p:txBody>
      </p:sp>
      <p:sp>
        <p:nvSpPr>
          <p:cNvPr id="105" name="Accounts Note">
            <a:extLst>
              <a:ext uri="{FF2B5EF4-FFF2-40B4-BE49-F238E27FC236}">
                <a16:creationId xmlns:a16="http://schemas.microsoft.com/office/drawing/2014/main" id="{F90EF8DF-D273-4503-8AC3-F90377C8BDA7}"/>
              </a:ext>
            </a:extLst>
          </p:cNvPr>
          <p:cNvSpPr txBox="1"/>
          <p:nvPr/>
        </p:nvSpPr>
        <p:spPr>
          <a:xfrm>
            <a:off x="411480" y="6323189"/>
            <a:ext cx="59249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d to cart for Virtual will always be N/A due to unique purchase flow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4F42538-4B6D-490A-A366-313A4AABF8A9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2404753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Rectangle 216">
            <a:extLst>
              <a:ext uri="{FF2B5EF4-FFF2-40B4-BE49-F238E27FC236}">
                <a16:creationId xmlns:a16="http://schemas.microsoft.com/office/drawing/2014/main" id="{E84E5A22-E6A9-4795-81AE-FB95C15FF0AE}"/>
              </a:ext>
            </a:extLst>
          </p:cNvPr>
          <p:cNvSpPr/>
          <p:nvPr/>
        </p:nvSpPr>
        <p:spPr>
          <a:xfrm rot="5400000">
            <a:off x="8051336" y="2431050"/>
            <a:ext cx="5440077" cy="2368801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413220" y="211575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Executive Summar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1480" y="883274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ustomer Journey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0177925" y="1099441"/>
            <a:ext cx="160901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800"/>
              </a:spcBef>
            </a:pPr>
            <a:r>
              <a:rPr lang="en-US" dirty="0">
                <a:solidFill>
                  <a:schemeClr val="bg1"/>
                </a:solidFill>
              </a:rPr>
              <a:t>Key Insights</a:t>
            </a:r>
          </a:p>
        </p:txBody>
      </p:sp>
      <p:sp>
        <p:nvSpPr>
          <p:cNvPr id="89" name="summary_third_insight_strat"/>
          <p:cNvSpPr txBox="1"/>
          <p:nvPr/>
        </p:nvSpPr>
        <p:spPr>
          <a:xfrm>
            <a:off x="9687600" y="4769933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1" name="focus_product_metric_strat"/>
          <p:cNvSpPr txBox="1"/>
          <p:nvPr/>
        </p:nvSpPr>
        <p:spPr>
          <a:xfrm>
            <a:off x="9916000" y="4796440"/>
            <a:ext cx="183491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Focus on maintaining Product Purchase Rate for Prod A Pro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summary_first_insight_strat"/>
          <p:cNvSpPr txBox="1"/>
          <p:nvPr/>
        </p:nvSpPr>
        <p:spPr>
          <a:xfrm>
            <a:off x="9687600" y="1625797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86" name="summary_second_insight_strat"/>
          <p:cNvSpPr txBox="1"/>
          <p:nvPr/>
        </p:nvSpPr>
        <p:spPr>
          <a:xfrm>
            <a:off x="9687600" y="3498879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84" name="focus_dropout_strat"/>
          <p:cNvSpPr txBox="1"/>
          <p:nvPr/>
        </p:nvSpPr>
        <p:spPr>
          <a:xfrm>
            <a:off x="9920909" y="1652301"/>
            <a:ext cx="2034867" cy="166199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Group A Partner has Visitor to Leads Ratio of 1.8% over time. It has not varied much and is 2.5% in May'21 vs. 2.5% in Apr'21 (*Monthly percentage calculations are 3 months rolling). Focus on improving Visitor to Leads Ratio</a:t>
            </a:r>
          </a:p>
        </p:txBody>
      </p:sp>
      <p:sp>
        <p:nvSpPr>
          <p:cNvPr id="87" name="focus_change_strat"/>
          <p:cNvSpPr txBox="1"/>
          <p:nvPr/>
        </p:nvSpPr>
        <p:spPr>
          <a:xfrm>
            <a:off x="9916000" y="3538639"/>
            <a:ext cx="19968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Focus on improving Visitor to Leads Ratio. It is the lowest  (1.8%) among the  efficiency metric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518991" y="3461844"/>
            <a:ext cx="2393816" cy="1260361"/>
            <a:chOff x="9237442" y="3461844"/>
            <a:chExt cx="2667832" cy="1260361"/>
          </a:xfrm>
        </p:grpSpPr>
        <p:cxnSp>
          <p:nvCxnSpPr>
            <p:cNvPr id="95" name="Straight Connector 94"/>
            <p:cNvCxnSpPr/>
            <p:nvPr/>
          </p:nvCxnSpPr>
          <p:spPr>
            <a:xfrm>
              <a:off x="9237442" y="3461844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9265322" y="4722205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8" name="TextBox 177"/>
          <p:cNvSpPr txBox="1"/>
          <p:nvPr/>
        </p:nvSpPr>
        <p:spPr>
          <a:xfrm>
            <a:off x="506036" y="5165433"/>
            <a:ext cx="3573915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Efficiency Metrics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512917" y="5537615"/>
            <a:ext cx="121368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Visitor to Lead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344" name="txt_visitors_leads_strat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1811432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.8%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3039172" y="5537615"/>
            <a:ext cx="1574052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ead to Application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348" name="txt_leads_applications_strat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4690679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96.4%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5848714" y="5537615"/>
            <a:ext cx="1955688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Application to Approved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353" name="txt_application_approved_strat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7861450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3.4%</a:t>
            </a:r>
          </a:p>
        </p:txBody>
      </p:sp>
      <p:cxnSp>
        <p:nvCxnSpPr>
          <p:cNvPr id="177" name="Straight Connector 176"/>
          <p:cNvCxnSpPr/>
          <p:nvPr/>
        </p:nvCxnSpPr>
        <p:spPr>
          <a:xfrm>
            <a:off x="506036" y="4994359"/>
            <a:ext cx="591783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2242DF8F-F73B-45A5-B4BD-76E50F196FE3}"/>
              </a:ext>
            </a:extLst>
          </p:cNvPr>
          <p:cNvSpPr txBox="1"/>
          <p:nvPr/>
        </p:nvSpPr>
        <p:spPr>
          <a:xfrm>
            <a:off x="446665" y="1282835"/>
            <a:ext cx="1446718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verall Journey</a:t>
            </a:r>
          </a:p>
        </p:txBody>
      </p:sp>
      <p:sp>
        <p:nvSpPr>
          <p:cNvPr id="119" name="Freeform 118">
            <a:hlinkClick r:id="" action="ppaction://noaction"/>
          </p:cNvPr>
          <p:cNvSpPr>
            <a:spLocks/>
          </p:cNvSpPr>
          <p:nvPr/>
        </p:nvSpPr>
        <p:spPr bwMode="auto">
          <a:xfrm>
            <a:off x="1435798" y="4032210"/>
            <a:ext cx="1358126" cy="824610"/>
          </a:xfrm>
          <a:custGeom>
            <a:avLst/>
            <a:gdLst>
              <a:gd name="connsiteX0" fmla="*/ 0 w 1581150"/>
              <a:gd name="connsiteY0" fmla="*/ 0 h 816952"/>
              <a:gd name="connsiteX1" fmla="*/ 1579865 w 1581150"/>
              <a:gd name="connsiteY1" fmla="*/ 0 h 816952"/>
              <a:gd name="connsiteX2" fmla="*/ 1579171 w 1581150"/>
              <a:gd name="connsiteY2" fmla="*/ 1461 h 816952"/>
              <a:gd name="connsiteX3" fmla="*/ 1577138 w 1581150"/>
              <a:gd name="connsiteY3" fmla="*/ 5739 h 816952"/>
              <a:gd name="connsiteX4" fmla="*/ 1581150 w 1581150"/>
              <a:gd name="connsiteY4" fmla="*/ 5739 h 816952"/>
              <a:gd name="connsiteX5" fmla="*/ 1225625 w 1581150"/>
              <a:gd name="connsiteY5" fmla="*/ 816952 h 816952"/>
              <a:gd name="connsiteX6" fmla="*/ 355525 w 1581150"/>
              <a:gd name="connsiteY6" fmla="*/ 816952 h 816952"/>
              <a:gd name="connsiteX7" fmla="*/ 0 w 1581150"/>
              <a:gd name="connsiteY7" fmla="*/ 5739 h 816952"/>
              <a:gd name="connsiteX8" fmla="*/ 2727 w 1581150"/>
              <a:gd name="connsiteY8" fmla="*/ 5739 h 81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150" h="816952">
                <a:moveTo>
                  <a:pt x="0" y="0"/>
                </a:moveTo>
                <a:cubicBezTo>
                  <a:pt x="0" y="0"/>
                  <a:pt x="0" y="0"/>
                  <a:pt x="1579865" y="0"/>
                </a:cubicBezTo>
                <a:cubicBezTo>
                  <a:pt x="1579865" y="0"/>
                  <a:pt x="1579865" y="0"/>
                  <a:pt x="1579171" y="1461"/>
                </a:cubicBezTo>
                <a:lnTo>
                  <a:pt x="1577138" y="5739"/>
                </a:lnTo>
                <a:lnTo>
                  <a:pt x="1581150" y="5739"/>
                </a:lnTo>
                <a:cubicBezTo>
                  <a:pt x="1581150" y="5739"/>
                  <a:pt x="1581150" y="5739"/>
                  <a:pt x="1225625" y="816952"/>
                </a:cubicBezTo>
                <a:lnTo>
                  <a:pt x="355525" y="816952"/>
                </a:lnTo>
                <a:cubicBezTo>
                  <a:pt x="355525" y="816952"/>
                  <a:pt x="355525" y="816952"/>
                  <a:pt x="0" y="5739"/>
                </a:cubicBezTo>
                <a:lnTo>
                  <a:pt x="2727" y="573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0" name="Freeform 119"/>
          <p:cNvSpPr>
            <a:spLocks/>
          </p:cNvSpPr>
          <p:nvPr/>
        </p:nvSpPr>
        <p:spPr bwMode="auto">
          <a:xfrm>
            <a:off x="1104050" y="3206980"/>
            <a:ext cx="2021622" cy="925260"/>
          </a:xfrm>
          <a:custGeom>
            <a:avLst/>
            <a:gdLst>
              <a:gd name="connsiteX0" fmla="*/ 0 w 2353600"/>
              <a:gd name="connsiteY0" fmla="*/ 0 h 916666"/>
              <a:gd name="connsiteX1" fmla="*/ 2353600 w 2353600"/>
              <a:gd name="connsiteY1" fmla="*/ 0 h 916666"/>
              <a:gd name="connsiteX2" fmla="*/ 1966733 w 2353600"/>
              <a:gd name="connsiteY2" fmla="*/ 817567 h 916666"/>
              <a:gd name="connsiteX3" fmla="*/ 1240643 w 2353600"/>
              <a:gd name="connsiteY3" fmla="*/ 817567 h 916666"/>
              <a:gd name="connsiteX4" fmla="*/ 1177753 w 2353600"/>
              <a:gd name="connsiteY4" fmla="*/ 916666 h 916666"/>
              <a:gd name="connsiteX5" fmla="*/ 1177481 w 2353600"/>
              <a:gd name="connsiteY5" fmla="*/ 916224 h 916666"/>
              <a:gd name="connsiteX6" fmla="*/ 1177209 w 2353600"/>
              <a:gd name="connsiteY6" fmla="*/ 916666 h 916666"/>
              <a:gd name="connsiteX7" fmla="*/ 1114662 w 2353600"/>
              <a:gd name="connsiteY7" fmla="*/ 817567 h 916666"/>
              <a:gd name="connsiteX8" fmla="*/ 386867 w 2353600"/>
              <a:gd name="connsiteY8" fmla="*/ 817567 h 916666"/>
              <a:gd name="connsiteX9" fmla="*/ 386381 w 2353600"/>
              <a:gd name="connsiteY9" fmla="*/ 816539 h 916666"/>
              <a:gd name="connsiteX10" fmla="*/ 385055 w 2353600"/>
              <a:gd name="connsiteY10" fmla="*/ 816539 h 916666"/>
              <a:gd name="connsiteX11" fmla="*/ 0 w 2353600"/>
              <a:gd name="connsiteY11" fmla="*/ 2266 h 916666"/>
              <a:gd name="connsiteX12" fmla="*/ 1073 w 2353600"/>
              <a:gd name="connsiteY12" fmla="*/ 2266 h 91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53600" h="916666">
                <a:moveTo>
                  <a:pt x="0" y="0"/>
                </a:moveTo>
                <a:lnTo>
                  <a:pt x="2353600" y="0"/>
                </a:lnTo>
                <a:lnTo>
                  <a:pt x="1966733" y="817567"/>
                </a:lnTo>
                <a:lnTo>
                  <a:pt x="1240643" y="817567"/>
                </a:lnTo>
                <a:lnTo>
                  <a:pt x="1177753" y="916666"/>
                </a:lnTo>
                <a:lnTo>
                  <a:pt x="1177481" y="916224"/>
                </a:lnTo>
                <a:lnTo>
                  <a:pt x="1177209" y="916666"/>
                </a:lnTo>
                <a:lnTo>
                  <a:pt x="1114662" y="817567"/>
                </a:lnTo>
                <a:lnTo>
                  <a:pt x="386867" y="817567"/>
                </a:lnTo>
                <a:lnTo>
                  <a:pt x="386381" y="816539"/>
                </a:lnTo>
                <a:lnTo>
                  <a:pt x="385055" y="816539"/>
                </a:lnTo>
                <a:lnTo>
                  <a:pt x="0" y="2266"/>
                </a:lnTo>
                <a:lnTo>
                  <a:pt x="1073" y="2266"/>
                </a:lnTo>
                <a:close/>
              </a:path>
            </a:pathLst>
          </a:custGeom>
          <a:solidFill>
            <a:srgbClr val="9B9B9B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1" name="Freeform 120"/>
          <p:cNvSpPr>
            <a:spLocks/>
          </p:cNvSpPr>
          <p:nvPr/>
        </p:nvSpPr>
        <p:spPr bwMode="auto">
          <a:xfrm>
            <a:off x="775026" y="2381748"/>
            <a:ext cx="2679671" cy="932953"/>
          </a:xfrm>
          <a:custGeom>
            <a:avLst/>
            <a:gdLst>
              <a:gd name="T0" fmla="*/ 0 w 1637"/>
              <a:gd name="T1" fmla="*/ 0 h 485"/>
              <a:gd name="T2" fmla="*/ 201 w 1637"/>
              <a:gd name="T3" fmla="*/ 431 h 485"/>
              <a:gd name="T4" fmla="*/ 785 w 1637"/>
              <a:gd name="T5" fmla="*/ 431 h 485"/>
              <a:gd name="T6" fmla="*/ 820 w 1637"/>
              <a:gd name="T7" fmla="*/ 485 h 485"/>
              <a:gd name="T8" fmla="*/ 851 w 1637"/>
              <a:gd name="T9" fmla="*/ 431 h 485"/>
              <a:gd name="T10" fmla="*/ 1435 w 1637"/>
              <a:gd name="T11" fmla="*/ 431 h 485"/>
              <a:gd name="T12" fmla="*/ 1637 w 1637"/>
              <a:gd name="T13" fmla="*/ 0 h 485"/>
              <a:gd name="T14" fmla="*/ 0 w 1637"/>
              <a:gd name="T15" fmla="*/ 0 h 485"/>
              <a:gd name="T16" fmla="*/ 0 w 1637"/>
              <a:gd name="T17" fmla="*/ 0 h 485"/>
              <a:gd name="T18" fmla="*/ 0 w 1637"/>
              <a:gd name="T19" fmla="*/ 0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37" h="485">
                <a:moveTo>
                  <a:pt x="0" y="0"/>
                </a:moveTo>
                <a:lnTo>
                  <a:pt x="201" y="431"/>
                </a:lnTo>
                <a:lnTo>
                  <a:pt x="785" y="431"/>
                </a:lnTo>
                <a:lnTo>
                  <a:pt x="820" y="485"/>
                </a:lnTo>
                <a:lnTo>
                  <a:pt x="851" y="431"/>
                </a:lnTo>
                <a:lnTo>
                  <a:pt x="1435" y="431"/>
                </a:lnTo>
                <a:lnTo>
                  <a:pt x="1637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5" name="Freeform 124"/>
          <p:cNvSpPr>
            <a:spLocks/>
          </p:cNvSpPr>
          <p:nvPr/>
        </p:nvSpPr>
        <p:spPr bwMode="auto">
          <a:xfrm>
            <a:off x="441090" y="1558443"/>
            <a:ext cx="3347541" cy="925260"/>
          </a:xfrm>
          <a:custGeom>
            <a:avLst/>
            <a:gdLst>
              <a:gd name="T0" fmla="*/ 1250 w 1250"/>
              <a:gd name="T1" fmla="*/ 0 h 294"/>
              <a:gd name="T2" fmla="*/ 1126 w 1250"/>
              <a:gd name="T3" fmla="*/ 261 h 294"/>
              <a:gd name="T4" fmla="*/ 646 w 1250"/>
              <a:gd name="T5" fmla="*/ 261 h 294"/>
              <a:gd name="T6" fmla="*/ 626 w 1250"/>
              <a:gd name="T7" fmla="*/ 294 h 294"/>
              <a:gd name="T8" fmla="*/ 605 w 1250"/>
              <a:gd name="T9" fmla="*/ 261 h 294"/>
              <a:gd name="T10" fmla="*/ 125 w 1250"/>
              <a:gd name="T11" fmla="*/ 261 h 294"/>
              <a:gd name="T12" fmla="*/ 55 w 1250"/>
              <a:gd name="T13" fmla="*/ 115 h 294"/>
              <a:gd name="T14" fmla="*/ 55 w 1250"/>
              <a:gd name="T15" fmla="*/ 115 h 294"/>
              <a:gd name="T16" fmla="*/ 0 w 1250"/>
              <a:gd name="T17" fmla="*/ 0 h 294"/>
              <a:gd name="T18" fmla="*/ 135 w 1250"/>
              <a:gd name="T19" fmla="*/ 0 h 294"/>
              <a:gd name="T20" fmla="*/ 135 w 1250"/>
              <a:gd name="T21" fmla="*/ 0 h 294"/>
              <a:gd name="T22" fmla="*/ 626 w 1250"/>
              <a:gd name="T23" fmla="*/ 0 h 294"/>
              <a:gd name="T24" fmla="*/ 1095 w 1250"/>
              <a:gd name="T25" fmla="*/ 0 h 294"/>
              <a:gd name="T26" fmla="*/ 1095 w 1250"/>
              <a:gd name="T27" fmla="*/ 0 h 294"/>
              <a:gd name="T28" fmla="*/ 1250 w 1250"/>
              <a:gd name="T29" fmla="*/ 0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50" h="294">
                <a:moveTo>
                  <a:pt x="1250" y="0"/>
                </a:moveTo>
                <a:cubicBezTo>
                  <a:pt x="1126" y="261"/>
                  <a:pt x="1126" y="261"/>
                  <a:pt x="1126" y="261"/>
                </a:cubicBezTo>
                <a:cubicBezTo>
                  <a:pt x="646" y="261"/>
                  <a:pt x="646" y="261"/>
                  <a:pt x="646" y="261"/>
                </a:cubicBezTo>
                <a:cubicBezTo>
                  <a:pt x="646" y="261"/>
                  <a:pt x="646" y="261"/>
                  <a:pt x="626" y="294"/>
                </a:cubicBezTo>
                <a:cubicBezTo>
                  <a:pt x="626" y="294"/>
                  <a:pt x="626" y="294"/>
                  <a:pt x="605" y="261"/>
                </a:cubicBezTo>
                <a:cubicBezTo>
                  <a:pt x="605" y="261"/>
                  <a:pt x="605" y="261"/>
                  <a:pt x="125" y="261"/>
                </a:cubicBezTo>
                <a:cubicBezTo>
                  <a:pt x="125" y="261"/>
                  <a:pt x="124" y="261"/>
                  <a:pt x="55" y="115"/>
                </a:cubicBezTo>
                <a:cubicBezTo>
                  <a:pt x="55" y="115"/>
                  <a:pt x="55" y="115"/>
                  <a:pt x="55" y="115"/>
                </a:cubicBezTo>
                <a:cubicBezTo>
                  <a:pt x="0" y="0"/>
                  <a:pt x="0" y="0"/>
                  <a:pt x="0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626" y="0"/>
                  <a:pt x="626" y="0"/>
                  <a:pt x="626" y="0"/>
                </a:cubicBezTo>
                <a:cubicBezTo>
                  <a:pt x="626" y="0"/>
                  <a:pt x="626" y="0"/>
                  <a:pt x="1095" y="0"/>
                </a:cubicBezTo>
                <a:cubicBezTo>
                  <a:pt x="1095" y="0"/>
                  <a:pt x="1095" y="0"/>
                  <a:pt x="1095" y="0"/>
                </a:cubicBezTo>
                <a:lnTo>
                  <a:pt x="1250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/>
          </a:p>
        </p:txBody>
      </p:sp>
      <p:sp>
        <p:nvSpPr>
          <p:cNvPr id="126" name="txt_visitors_strat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1988142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95,207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1554969" y="1880590"/>
            <a:ext cx="1127387" cy="1812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/>
              <a:t>Visitors</a:t>
            </a:r>
          </a:p>
        </p:txBody>
      </p:sp>
      <p:grpSp>
        <p:nvGrpSpPr>
          <p:cNvPr id="128" name="Group 4"/>
          <p:cNvGrpSpPr>
            <a:grpSpLocks noChangeAspect="1"/>
          </p:cNvGrpSpPr>
          <p:nvPr/>
        </p:nvGrpSpPr>
        <p:grpSpPr bwMode="auto">
          <a:xfrm>
            <a:off x="1999625" y="4197511"/>
            <a:ext cx="230472" cy="212989"/>
            <a:chOff x="1229" y="3302"/>
            <a:chExt cx="196" cy="196"/>
          </a:xfrm>
        </p:grpSpPr>
        <p:sp>
          <p:nvSpPr>
            <p:cNvPr id="129" name="Oval 128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1" name="Freeform 130"/>
          <p:cNvSpPr>
            <a:spLocks noEditPoints="1"/>
          </p:cNvSpPr>
          <p:nvPr/>
        </p:nvSpPr>
        <p:spPr bwMode="auto">
          <a:xfrm>
            <a:off x="1997479" y="3368350"/>
            <a:ext cx="234764" cy="214325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32" name="Group 131"/>
          <p:cNvGrpSpPr/>
          <p:nvPr/>
        </p:nvGrpSpPr>
        <p:grpSpPr>
          <a:xfrm>
            <a:off x="1988371" y="2528651"/>
            <a:ext cx="252982" cy="232293"/>
            <a:chOff x="5972176" y="3303588"/>
            <a:chExt cx="247650" cy="246063"/>
          </a:xfrm>
        </p:grpSpPr>
        <p:sp>
          <p:nvSpPr>
            <p:cNvPr id="133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6" name="Group 8"/>
          <p:cNvGrpSpPr>
            <a:grpSpLocks noChangeAspect="1"/>
          </p:cNvGrpSpPr>
          <p:nvPr/>
        </p:nvGrpSpPr>
        <p:grpSpPr bwMode="auto">
          <a:xfrm>
            <a:off x="1963332" y="1708156"/>
            <a:ext cx="303057" cy="151212"/>
            <a:chOff x="264" y="1506"/>
            <a:chExt cx="213" cy="115"/>
          </a:xfrm>
        </p:grpSpPr>
        <p:sp>
          <p:nvSpPr>
            <p:cNvPr id="137" name="Oval 9"/>
            <p:cNvSpPr>
              <a:spLocks noChangeArrowheads="1"/>
            </p:cNvSpPr>
            <p:nvPr/>
          </p:nvSpPr>
          <p:spPr bwMode="auto">
            <a:xfrm>
              <a:off x="342" y="1506"/>
              <a:ext cx="57" cy="57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Freeform 10"/>
            <p:cNvSpPr>
              <a:spLocks/>
            </p:cNvSpPr>
            <p:nvPr/>
          </p:nvSpPr>
          <p:spPr bwMode="auto">
            <a:xfrm>
              <a:off x="324" y="1574"/>
              <a:ext cx="93" cy="47"/>
            </a:xfrm>
            <a:custGeom>
              <a:avLst/>
              <a:gdLst>
                <a:gd name="T0" fmla="*/ 0 w 56"/>
                <a:gd name="T1" fmla="*/ 28 h 28"/>
                <a:gd name="T2" fmla="*/ 28 w 56"/>
                <a:gd name="T3" fmla="*/ 0 h 28"/>
                <a:gd name="T4" fmla="*/ 56 w 56"/>
                <a:gd name="T5" fmla="*/ 28 h 28"/>
                <a:gd name="T6" fmla="*/ 0 w 56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28">
                  <a:moveTo>
                    <a:pt x="0" y="28"/>
                  </a:moveTo>
                  <a:cubicBezTo>
                    <a:pt x="0" y="13"/>
                    <a:pt x="13" y="0"/>
                    <a:pt x="28" y="0"/>
                  </a:cubicBezTo>
                  <a:cubicBezTo>
                    <a:pt x="44" y="0"/>
                    <a:pt x="56" y="13"/>
                    <a:pt x="56" y="28"/>
                  </a:cubicBezTo>
                  <a:lnTo>
                    <a:pt x="0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Freeform 11"/>
            <p:cNvSpPr>
              <a:spLocks/>
            </p:cNvSpPr>
            <p:nvPr/>
          </p:nvSpPr>
          <p:spPr bwMode="auto">
            <a:xfrm>
              <a:off x="424" y="1582"/>
              <a:ext cx="53" cy="39"/>
            </a:xfrm>
            <a:custGeom>
              <a:avLst/>
              <a:gdLst>
                <a:gd name="T0" fmla="*/ 4 w 32"/>
                <a:gd name="T1" fmla="*/ 23 h 23"/>
                <a:gd name="T2" fmla="*/ 32 w 32"/>
                <a:gd name="T3" fmla="*/ 23 h 23"/>
                <a:gd name="T4" fmla="*/ 22 w 32"/>
                <a:gd name="T5" fmla="*/ 5 h 23"/>
                <a:gd name="T6" fmla="*/ 0 w 32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3">
                  <a:moveTo>
                    <a:pt x="4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6"/>
                    <a:pt x="28" y="9"/>
                    <a:pt x="22" y="5"/>
                  </a:cubicBezTo>
                  <a:cubicBezTo>
                    <a:pt x="15" y="1"/>
                    <a:pt x="7" y="0"/>
                    <a:pt x="0" y="4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Oval 12"/>
            <p:cNvSpPr>
              <a:spLocks noChangeArrowheads="1"/>
            </p:cNvSpPr>
            <p:nvPr/>
          </p:nvSpPr>
          <p:spPr bwMode="auto">
            <a:xfrm>
              <a:off x="419" y="1530"/>
              <a:ext cx="43" cy="44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1" name="Freeform 13"/>
            <p:cNvSpPr>
              <a:spLocks/>
            </p:cNvSpPr>
            <p:nvPr/>
          </p:nvSpPr>
          <p:spPr bwMode="auto">
            <a:xfrm>
              <a:off x="264" y="1582"/>
              <a:ext cx="53" cy="39"/>
            </a:xfrm>
            <a:custGeom>
              <a:avLst/>
              <a:gdLst>
                <a:gd name="T0" fmla="*/ 28 w 32"/>
                <a:gd name="T1" fmla="*/ 23 h 23"/>
                <a:gd name="T2" fmla="*/ 0 w 32"/>
                <a:gd name="T3" fmla="*/ 23 h 23"/>
                <a:gd name="T4" fmla="*/ 10 w 32"/>
                <a:gd name="T5" fmla="*/ 5 h 23"/>
                <a:gd name="T6" fmla="*/ 32 w 32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3">
                  <a:moveTo>
                    <a:pt x="28" y="23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6"/>
                    <a:pt x="4" y="9"/>
                    <a:pt x="10" y="5"/>
                  </a:cubicBezTo>
                  <a:cubicBezTo>
                    <a:pt x="17" y="1"/>
                    <a:pt x="25" y="0"/>
                    <a:pt x="32" y="4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Oval 14"/>
            <p:cNvSpPr>
              <a:spLocks noChangeArrowheads="1"/>
            </p:cNvSpPr>
            <p:nvPr/>
          </p:nvSpPr>
          <p:spPr bwMode="auto">
            <a:xfrm>
              <a:off x="279" y="1530"/>
              <a:ext cx="43" cy="44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3" name="txt_leads_strat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2875808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1,758</a:t>
            </a:r>
          </a:p>
        </p:txBody>
      </p:sp>
      <p:sp>
        <p:nvSpPr>
          <p:cNvPr id="145" name="Rectangle 144"/>
          <p:cNvSpPr/>
          <p:nvPr/>
        </p:nvSpPr>
        <p:spPr>
          <a:xfrm>
            <a:off x="1554969" y="2777755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eads</a:t>
            </a:r>
          </a:p>
        </p:txBody>
      </p:sp>
      <p:sp>
        <p:nvSpPr>
          <p:cNvPr id="146" name="txt_total_app_strat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3698757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5,210</a:t>
            </a:r>
          </a:p>
        </p:txBody>
      </p:sp>
      <p:sp>
        <p:nvSpPr>
          <p:cNvPr id="147" name="Rectangle 146"/>
          <p:cNvSpPr/>
          <p:nvPr/>
        </p:nvSpPr>
        <p:spPr>
          <a:xfrm>
            <a:off x="1554969" y="3600703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pplications</a:t>
            </a:r>
          </a:p>
        </p:txBody>
      </p:sp>
      <p:sp>
        <p:nvSpPr>
          <p:cNvPr id="149" name="txt_tot_approved_strat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4521061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1,738</a:t>
            </a:r>
          </a:p>
        </p:txBody>
      </p:sp>
      <p:sp>
        <p:nvSpPr>
          <p:cNvPr id="150" name="Rectangle 149"/>
          <p:cNvSpPr/>
          <p:nvPr/>
        </p:nvSpPr>
        <p:spPr>
          <a:xfrm>
            <a:off x="1554969" y="4423006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pprovals</a:t>
            </a:r>
          </a:p>
        </p:txBody>
      </p:sp>
      <p:sp>
        <p:nvSpPr>
          <p:cNvPr id="110" name="Data Note">
            <a:extLst>
              <a:ext uri="{FF2B5EF4-FFF2-40B4-BE49-F238E27FC236}">
                <a16:creationId xmlns:a16="http://schemas.microsoft.com/office/drawing/2014/main" id="{FDA7346C-8BC7-4AA6-A7F9-BE1405F1BABF}"/>
              </a:ext>
            </a:extLst>
          </p:cNvPr>
          <p:cNvSpPr txBox="1"/>
          <p:nvPr/>
        </p:nvSpPr>
        <p:spPr>
          <a:xfrm>
            <a:off x="411480" y="6144360"/>
            <a:ext cx="2231380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rgbClr val="000000"/>
                </a:solidFill>
              </a:rPr>
              <a:t>Note: The current period of analysis is 2021 YTD</a:t>
            </a:r>
          </a:p>
        </p:txBody>
      </p:sp>
      <p:sp>
        <p:nvSpPr>
          <p:cNvPr id="211" name="Freeform 210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212" name="Rectangle 211">
            <a:hlinkClick r:id="rId6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213" name="Rectangle 212">
            <a:hlinkClick r:id="rId7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A</a:t>
            </a:r>
          </a:p>
        </p:txBody>
      </p:sp>
      <p:sp>
        <p:nvSpPr>
          <p:cNvPr id="214" name="Rectangle 213">
            <a:hlinkClick r:id="rId8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215" name="Rectangle 214">
            <a:hlinkClick r:id="rId9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216" name="Rectangle 215">
            <a:hlinkClick r:id="rId10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cxnSp>
        <p:nvCxnSpPr>
          <p:cNvPr id="99" name="Straight Connector 98"/>
          <p:cNvCxnSpPr>
            <a:cxnSpLocks/>
          </p:cNvCxnSpPr>
          <p:nvPr/>
        </p:nvCxnSpPr>
        <p:spPr>
          <a:xfrm flipH="1">
            <a:off x="3948430" y="3190064"/>
            <a:ext cx="475361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/>
          <p:cNvSpPr txBox="1"/>
          <p:nvPr/>
        </p:nvSpPr>
        <p:spPr>
          <a:xfrm>
            <a:off x="3941544" y="2039815"/>
            <a:ext cx="1694282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Self-Service Journey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3941544" y="3552593"/>
            <a:ext cx="178111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Rep-Assisted Journey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7922906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53" name="txt_self_service_approvals_strat"/>
          <p:cNvSpPr/>
          <p:nvPr/>
        </p:nvSpPr>
        <p:spPr>
          <a:xfrm>
            <a:off x="7922906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,009</a:t>
            </a:r>
          </a:p>
        </p:txBody>
      </p:sp>
      <p:grpSp>
        <p:nvGrpSpPr>
          <p:cNvPr id="154" name="Group 4"/>
          <p:cNvGrpSpPr>
            <a:grpSpLocks noChangeAspect="1"/>
          </p:cNvGrpSpPr>
          <p:nvPr/>
        </p:nvGrpSpPr>
        <p:grpSpPr bwMode="auto">
          <a:xfrm>
            <a:off x="7524728" y="2458886"/>
            <a:ext cx="280673" cy="280673"/>
            <a:chOff x="1229" y="3302"/>
            <a:chExt cx="196" cy="196"/>
          </a:xfrm>
        </p:grpSpPr>
        <p:sp>
          <p:nvSpPr>
            <p:cNvPr id="155" name="Oval 154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6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6158739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44" name="txt_self_service_applications_strat"/>
          <p:cNvSpPr/>
          <p:nvPr/>
        </p:nvSpPr>
        <p:spPr>
          <a:xfrm>
            <a:off x="6158739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5,142</a:t>
            </a:r>
          </a:p>
        </p:txBody>
      </p:sp>
      <p:sp>
        <p:nvSpPr>
          <p:cNvPr id="151" name="Freeform 150"/>
          <p:cNvSpPr>
            <a:spLocks noEditPoints="1"/>
          </p:cNvSpPr>
          <p:nvPr/>
        </p:nvSpPr>
        <p:spPr bwMode="auto">
          <a:xfrm>
            <a:off x="5755334" y="2455840"/>
            <a:ext cx="285900" cy="282433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rgbClr val="404040"/>
          </a:solidFill>
          <a:ln w="317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4389344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16" name="txt_self_service_leads_strat"/>
          <p:cNvSpPr/>
          <p:nvPr/>
        </p:nvSpPr>
        <p:spPr>
          <a:xfrm>
            <a:off x="4389344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,474</a:t>
            </a:r>
          </a:p>
        </p:txBody>
      </p:sp>
      <p:grpSp>
        <p:nvGrpSpPr>
          <p:cNvPr id="117" name="Group 116"/>
          <p:cNvGrpSpPr/>
          <p:nvPr/>
        </p:nvGrpSpPr>
        <p:grpSpPr>
          <a:xfrm>
            <a:off x="3963754" y="2471116"/>
            <a:ext cx="308085" cy="306111"/>
            <a:chOff x="5972176" y="3303588"/>
            <a:chExt cx="247650" cy="246063"/>
          </a:xfrm>
        </p:grpSpPr>
        <p:sp>
          <p:nvSpPr>
            <p:cNvPr id="118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70" name="Rectangle 169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7922906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71" name="txt_rep_assisted_approvals_strat"/>
          <p:cNvSpPr/>
          <p:nvPr/>
        </p:nvSpPr>
        <p:spPr>
          <a:xfrm>
            <a:off x="7922906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,255</a:t>
            </a:r>
          </a:p>
        </p:txBody>
      </p:sp>
      <p:grpSp>
        <p:nvGrpSpPr>
          <p:cNvPr id="172" name="Group 4"/>
          <p:cNvGrpSpPr>
            <a:grpSpLocks noChangeAspect="1"/>
          </p:cNvGrpSpPr>
          <p:nvPr/>
        </p:nvGrpSpPr>
        <p:grpSpPr bwMode="auto">
          <a:xfrm>
            <a:off x="7524728" y="3976340"/>
            <a:ext cx="280673" cy="280673"/>
            <a:chOff x="1229" y="3302"/>
            <a:chExt cx="196" cy="196"/>
          </a:xfrm>
        </p:grpSpPr>
        <p:sp>
          <p:nvSpPr>
            <p:cNvPr id="173" name="Oval 172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7" name="Rectangle 166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6158739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68" name="txt_rep_assisted_applications_strat"/>
          <p:cNvSpPr/>
          <p:nvPr/>
        </p:nvSpPr>
        <p:spPr>
          <a:xfrm>
            <a:off x="6158739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4,181</a:t>
            </a:r>
          </a:p>
        </p:txBody>
      </p:sp>
      <p:sp>
        <p:nvSpPr>
          <p:cNvPr id="169" name="Freeform 168"/>
          <p:cNvSpPr>
            <a:spLocks noEditPoints="1"/>
          </p:cNvSpPr>
          <p:nvPr/>
        </p:nvSpPr>
        <p:spPr bwMode="auto">
          <a:xfrm>
            <a:off x="5755334" y="3973294"/>
            <a:ext cx="285900" cy="282433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rgbClr val="404040"/>
          </a:solidFill>
          <a:ln w="317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4389344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62" name="txt_rep_assisted_leads_strat"/>
          <p:cNvSpPr/>
          <p:nvPr/>
        </p:nvSpPr>
        <p:spPr>
          <a:xfrm>
            <a:off x="4389344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,992</a:t>
            </a:r>
          </a:p>
        </p:txBody>
      </p:sp>
      <p:grpSp>
        <p:nvGrpSpPr>
          <p:cNvPr id="163" name="Group 162"/>
          <p:cNvGrpSpPr/>
          <p:nvPr/>
        </p:nvGrpSpPr>
        <p:grpSpPr>
          <a:xfrm>
            <a:off x="3963754" y="3988570"/>
            <a:ext cx="308085" cy="306111"/>
            <a:chOff x="5972176" y="3303588"/>
            <a:chExt cx="247650" cy="246063"/>
          </a:xfrm>
        </p:grpSpPr>
        <p:sp>
          <p:nvSpPr>
            <p:cNvPr id="164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A5DE88B2-69D6-4A31-B377-2D295E4902C4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941008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413220" y="211575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Comparison trend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11480" y="1128840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Month over Month 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946446" y="1128839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Year over Year</a:t>
            </a:r>
          </a:p>
        </p:txBody>
      </p:sp>
      <p:graphicFrame>
        <p:nvGraphicFramePr>
          <p:cNvPr id="35" name="MoM_strat"/>
          <p:cNvGraphicFramePr/>
          <p:nvPr>
            <p:extLst>
              <p:ext uri="{D42A27DB-BD31-4B8C-83A1-F6EECF244321}">
                <p14:modId xmlns:p14="http://schemas.microsoft.com/office/powerpoint/2010/main" val="1876057801"/>
              </p:ext>
            </p:extLst>
          </p:nvPr>
        </p:nvGraphicFramePr>
        <p:xfrm>
          <a:off x="310680" y="1313506"/>
          <a:ext cx="5082587" cy="42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6" name="YoY_strat"/>
          <p:cNvGraphicFramePr/>
          <p:nvPr>
            <p:extLst>
              <p:ext uri="{D42A27DB-BD31-4B8C-83A1-F6EECF244321}">
                <p14:modId xmlns:p14="http://schemas.microsoft.com/office/powerpoint/2010/main" val="95028122"/>
              </p:ext>
            </p:extLst>
          </p:nvPr>
        </p:nvGraphicFramePr>
        <p:xfrm>
          <a:off x="6740150" y="1313506"/>
          <a:ext cx="4846161" cy="423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37" name="Straight Connector 36"/>
          <p:cNvCxnSpPr/>
          <p:nvPr/>
        </p:nvCxnSpPr>
        <p:spPr>
          <a:xfrm>
            <a:off x="6096000" y="1208015"/>
            <a:ext cx="0" cy="37754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/>
          <p:cNvGrpSpPr/>
          <p:nvPr/>
        </p:nvGrpSpPr>
        <p:grpSpPr>
          <a:xfrm>
            <a:off x="5095565" y="5547360"/>
            <a:ext cx="2000871" cy="184666"/>
            <a:chOff x="5042628" y="5547360"/>
            <a:chExt cx="2000871" cy="184666"/>
          </a:xfrm>
        </p:grpSpPr>
        <p:grpSp>
          <p:nvGrpSpPr>
            <p:cNvPr id="39" name="Group 38"/>
            <p:cNvGrpSpPr/>
            <p:nvPr/>
          </p:nvGrpSpPr>
          <p:grpSpPr>
            <a:xfrm>
              <a:off x="5042628" y="5547360"/>
              <a:ext cx="684904" cy="184666"/>
              <a:chOff x="4152550" y="5452827"/>
              <a:chExt cx="684904" cy="184666"/>
            </a:xfrm>
          </p:grpSpPr>
          <p:sp>
            <p:nvSpPr>
              <p:cNvPr id="43" name="Rectangle 42"/>
              <p:cNvSpPr/>
              <p:nvPr/>
            </p:nvSpPr>
            <p:spPr>
              <a:xfrm>
                <a:off x="4152550" y="5464644"/>
                <a:ext cx="161033" cy="161033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44" name="TextBox 43"/>
              <p:cNvSpPr txBox="1"/>
              <p:nvPr/>
            </p:nvSpPr>
            <p:spPr>
              <a:xfrm>
                <a:off x="4420673" y="5452827"/>
                <a:ext cx="41678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Leads</a:t>
                </a: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6094099" y="5547360"/>
              <a:ext cx="949400" cy="184666"/>
              <a:chOff x="4152550" y="5452827"/>
              <a:chExt cx="949400" cy="184666"/>
            </a:xfrm>
          </p:grpSpPr>
          <p:sp>
            <p:nvSpPr>
              <p:cNvPr id="41" name="Rectangle 40"/>
              <p:cNvSpPr/>
              <p:nvPr/>
            </p:nvSpPr>
            <p:spPr>
              <a:xfrm>
                <a:off x="4152550" y="5464644"/>
                <a:ext cx="161033" cy="161033"/>
              </a:xfrm>
              <a:prstGeom prst="rect">
                <a:avLst/>
              </a:prstGeom>
              <a:solidFill>
                <a:srgbClr val="6366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4420673" y="5452827"/>
                <a:ext cx="68127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Approvals</a:t>
                </a:r>
              </a:p>
            </p:txBody>
          </p:sp>
        </p:grpSp>
      </p:grpSp>
      <p:sp>
        <p:nvSpPr>
          <p:cNvPr id="45" name="Freeform 44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46" name="Rectangle 45">
            <a:hlinkClick r:id="rId8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47" name="Rectangle 46">
            <a:hlinkClick r:id="rId9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A</a:t>
            </a:r>
          </a:p>
        </p:txBody>
      </p:sp>
      <p:sp>
        <p:nvSpPr>
          <p:cNvPr id="48" name="Rectangle 47">
            <a:hlinkClick r:id="rId10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49" name="Rectangle 48">
            <a:hlinkClick r:id="rId11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50" name="Rectangle 49">
            <a:hlinkClick r:id="rId12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78BE28-34B7-4F3C-9F28-8B123BDBFA43}"/>
              </a:ext>
            </a:extLst>
          </p:cNvPr>
          <p:cNvSpPr txBox="1"/>
          <p:nvPr/>
        </p:nvSpPr>
        <p:spPr>
          <a:xfrm>
            <a:off x="8285797" y="5493379"/>
            <a:ext cx="175605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 YoY% Change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1F2D567-F334-4B2C-A6CF-EE01601802EE}"/>
              </a:ext>
            </a:extLst>
          </p:cNvPr>
          <p:cNvSpPr txBox="1"/>
          <p:nvPr/>
        </p:nvSpPr>
        <p:spPr>
          <a:xfrm>
            <a:off x="8292425" y="5208459"/>
            <a:ext cx="149156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YoY% Change:</a:t>
            </a:r>
          </a:p>
        </p:txBody>
      </p:sp>
      <p:sp>
        <p:nvSpPr>
          <p:cNvPr id="26" name="Approvals YoY_strat">
            <a:extLst>
              <a:ext uri="{FF2B5EF4-FFF2-40B4-BE49-F238E27FC236}">
                <a16:creationId xmlns:a16="http://schemas.microsoft.com/office/drawing/2014/main" id="{A8ABE550-AE9D-4CA1-8C7F-B2A282BCEBE3}"/>
              </a:ext>
            </a:extLst>
          </p:cNvPr>
          <p:cNvSpPr txBox="1"/>
          <p:nvPr/>
        </p:nvSpPr>
        <p:spPr>
          <a:xfrm>
            <a:off x="10041717" y="5502844"/>
            <a:ext cx="70857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- 3.8%</a:t>
            </a:r>
          </a:p>
        </p:txBody>
      </p:sp>
      <p:sp>
        <p:nvSpPr>
          <p:cNvPr id="27" name="Leads YoY_strat">
            <a:extLst>
              <a:ext uri="{FF2B5EF4-FFF2-40B4-BE49-F238E27FC236}">
                <a16:creationId xmlns:a16="http://schemas.microsoft.com/office/drawing/2014/main" id="{72AE4533-A7E3-488B-8AB0-4B9FB5FA319A}"/>
              </a:ext>
            </a:extLst>
          </p:cNvPr>
          <p:cNvSpPr txBox="1"/>
          <p:nvPr/>
        </p:nvSpPr>
        <p:spPr>
          <a:xfrm>
            <a:off x="10035093" y="5204672"/>
            <a:ext cx="70857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- 4.6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AFE756-BE8C-4B41-A8C3-738880FA270C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271733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128">
            <a:extLst>
              <a:ext uri="{FF2B5EF4-FFF2-40B4-BE49-F238E27FC236}">
                <a16:creationId xmlns:a16="http://schemas.microsoft.com/office/drawing/2014/main" id="{20D642A9-F137-441D-BEF1-2BF04A079895}"/>
              </a:ext>
            </a:extLst>
          </p:cNvPr>
          <p:cNvSpPr/>
          <p:nvPr/>
        </p:nvSpPr>
        <p:spPr>
          <a:xfrm rot="5400000">
            <a:off x="8051335" y="2431051"/>
            <a:ext cx="5440077" cy="2368800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product_heading_strat"/>
          <p:cNvSpPr txBox="1"/>
          <p:nvPr/>
        </p:nvSpPr>
        <p:spPr>
          <a:xfrm>
            <a:off x="413220" y="211574"/>
            <a:ext cx="681466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Distribution</a:t>
            </a:r>
          </a:p>
        </p:txBody>
      </p:sp>
      <p:sp>
        <p:nvSpPr>
          <p:cNvPr id="71" name="Freeform 6"/>
          <p:cNvSpPr>
            <a:spLocks/>
          </p:cNvSpPr>
          <p:nvPr/>
        </p:nvSpPr>
        <p:spPr bwMode="auto">
          <a:xfrm>
            <a:off x="6203508" y="6522854"/>
            <a:ext cx="54418" cy="115366"/>
          </a:xfrm>
          <a:custGeom>
            <a:avLst/>
            <a:gdLst>
              <a:gd name="T0" fmla="*/ 0 w 25"/>
              <a:gd name="T1" fmla="*/ 0 h 53"/>
              <a:gd name="T2" fmla="*/ 25 w 25"/>
              <a:gd name="T3" fmla="*/ 27 h 53"/>
              <a:gd name="T4" fmla="*/ 0 w 25"/>
              <a:gd name="T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53">
                <a:moveTo>
                  <a:pt x="0" y="0"/>
                </a:moveTo>
                <a:lnTo>
                  <a:pt x="25" y="27"/>
                </a:lnTo>
                <a:lnTo>
                  <a:pt x="0" y="53"/>
                </a:lnTo>
              </a:path>
            </a:pathLst>
          </a:custGeom>
          <a:noFill/>
          <a:ln w="19050" cap="rnd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2" name="Freeform 8"/>
          <p:cNvSpPr>
            <a:spLocks/>
          </p:cNvSpPr>
          <p:nvPr/>
        </p:nvSpPr>
        <p:spPr bwMode="auto">
          <a:xfrm>
            <a:off x="5934075" y="6522854"/>
            <a:ext cx="54418" cy="115366"/>
          </a:xfrm>
          <a:custGeom>
            <a:avLst/>
            <a:gdLst>
              <a:gd name="T0" fmla="*/ 25 w 25"/>
              <a:gd name="T1" fmla="*/ 0 h 53"/>
              <a:gd name="T2" fmla="*/ 0 w 25"/>
              <a:gd name="T3" fmla="*/ 27 h 53"/>
              <a:gd name="T4" fmla="*/ 25 w 25"/>
              <a:gd name="T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53">
                <a:moveTo>
                  <a:pt x="25" y="0"/>
                </a:moveTo>
                <a:lnTo>
                  <a:pt x="0" y="27"/>
                </a:lnTo>
                <a:lnTo>
                  <a:pt x="25" y="53"/>
                </a:lnTo>
              </a:path>
            </a:pathLst>
          </a:custGeom>
          <a:noFill/>
          <a:ln w="19050" cap="rnd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" name="Rectangle 72">
            <a:hlinkClick r:id="" action="ppaction://hlinkshowjump?jump=previousslide"/>
          </p:cNvPr>
          <p:cNvSpPr/>
          <p:nvPr/>
        </p:nvSpPr>
        <p:spPr>
          <a:xfrm>
            <a:off x="5878291" y="6489924"/>
            <a:ext cx="181226" cy="18122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>
            <a:hlinkClick r:id="" action="ppaction://hlinkshowjump?jump=nextslide"/>
          </p:cNvPr>
          <p:cNvSpPr/>
          <p:nvPr/>
        </p:nvSpPr>
        <p:spPr>
          <a:xfrm>
            <a:off x="6140104" y="6489924"/>
            <a:ext cx="181226" cy="18122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C125968-EB0C-4717-B1EF-5987495BF99E}"/>
              </a:ext>
            </a:extLst>
          </p:cNvPr>
          <p:cNvSpPr txBox="1"/>
          <p:nvPr/>
        </p:nvSpPr>
        <p:spPr>
          <a:xfrm>
            <a:off x="9901697" y="1251855"/>
            <a:ext cx="187151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800"/>
              </a:spcBef>
            </a:pPr>
            <a:r>
              <a:rPr lang="en-US" sz="1400" b="1" dirty="0">
                <a:solidFill>
                  <a:schemeClr val="bg1"/>
                </a:solidFill>
              </a:rPr>
              <a:t>Insight</a:t>
            </a:r>
          </a:p>
        </p:txBody>
      </p:sp>
      <p:sp>
        <p:nvSpPr>
          <p:cNvPr id="98" name="product_insight_strat">
            <a:extLst>
              <a:ext uri="{FF2B5EF4-FFF2-40B4-BE49-F238E27FC236}">
                <a16:creationId xmlns:a16="http://schemas.microsoft.com/office/drawing/2014/main" id="{4E39C099-6536-4BE4-9B54-DA16BC34C163}"/>
              </a:ext>
            </a:extLst>
          </p:cNvPr>
          <p:cNvSpPr/>
          <p:nvPr/>
        </p:nvSpPr>
        <p:spPr>
          <a:xfrm>
            <a:off x="9901697" y="1571802"/>
            <a:ext cx="1770487" cy="221599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Prod A Pro has a Purchase share of 18.5% and it is ranked 2 among all products. With Add to Cart share of 13.3% and a rank of 6, Prod A Pro has highest Product Purchase Rate of 153.4%. Focus on maintaining Product Purchase Rate for Prod A Pro.</a:t>
            </a:r>
          </a:p>
        </p:txBody>
      </p:sp>
      <p:sp>
        <p:nvSpPr>
          <p:cNvPr id="141" name="Approvals Note">
            <a:extLst>
              <a:ext uri="{FF2B5EF4-FFF2-40B4-BE49-F238E27FC236}">
                <a16:creationId xmlns:a16="http://schemas.microsoft.com/office/drawing/2014/main" id="{11713F13-0402-480A-8AF6-AF5592EE352A}"/>
              </a:ext>
            </a:extLst>
          </p:cNvPr>
          <p:cNvSpPr txBox="1"/>
          <p:nvPr/>
        </p:nvSpPr>
        <p:spPr>
          <a:xfrm>
            <a:off x="411480" y="6144360"/>
            <a:ext cx="59249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rovals and purchases are not a direct 1:1 correlation, as one merchant could purchase multiple devices</a:t>
            </a:r>
          </a:p>
        </p:txBody>
      </p:sp>
      <p:pic>
        <p:nvPicPr>
          <p:cNvPr id="142" name="Picture 81" descr="Image result for firstdata statio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325" y="1791327"/>
            <a:ext cx="652136" cy="35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Rectangle 14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1871105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A</a:t>
            </a:r>
          </a:p>
        </p:txBody>
      </p:sp>
      <p:pic>
        <p:nvPicPr>
          <p:cNvPr id="144" name="Picture 79" descr="Related image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7" t="14007" r="16013" b="7100"/>
          <a:stretch/>
        </p:blipFill>
        <p:spPr bwMode="auto">
          <a:xfrm>
            <a:off x="647324" y="2542025"/>
            <a:ext cx="812138" cy="399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5" name="Rectangle 14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2616160"/>
            <a:ext cx="46968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B</a:t>
            </a:r>
          </a:p>
        </p:txBody>
      </p:sp>
      <p:pic>
        <p:nvPicPr>
          <p:cNvPr id="146" name="Picture 77" descr="Image result for firstdata flex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55" r="27523" b="10288"/>
          <a:stretch/>
        </p:blipFill>
        <p:spPr bwMode="auto">
          <a:xfrm rot="20670894">
            <a:off x="854350" y="3257237"/>
            <a:ext cx="398086" cy="45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7" name="Rectangle 14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3361215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C</a:t>
            </a:r>
          </a:p>
        </p:txBody>
      </p:sp>
      <p:pic>
        <p:nvPicPr>
          <p:cNvPr id="148" name="Picture 75" descr="Related image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82" r="18313" b="8735"/>
          <a:stretch/>
        </p:blipFill>
        <p:spPr bwMode="auto">
          <a:xfrm>
            <a:off x="810577" y="3987067"/>
            <a:ext cx="485632" cy="407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Rectangle 14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4106270"/>
            <a:ext cx="47769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D</a:t>
            </a:r>
          </a:p>
        </p:txBody>
      </p:sp>
      <p:pic>
        <p:nvPicPr>
          <p:cNvPr id="154" name="Picture 153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1" t="-4997" r="18473" b="-2"/>
          <a:stretch/>
        </p:blipFill>
        <p:spPr>
          <a:xfrm>
            <a:off x="655827" y="4671392"/>
            <a:ext cx="795131" cy="587998"/>
          </a:xfrm>
          <a:prstGeom prst="rect">
            <a:avLst/>
          </a:prstGeom>
        </p:spPr>
      </p:pic>
      <p:sp>
        <p:nvSpPr>
          <p:cNvPr id="155" name="Rectangle 15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4851325"/>
            <a:ext cx="496033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d A 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1502375" y="5511743"/>
            <a:ext cx="1051442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ccount Only/</a:t>
            </a:r>
            <a:b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rtual Terminal</a:t>
            </a:r>
          </a:p>
        </p:txBody>
      </p:sp>
      <p:pic>
        <p:nvPicPr>
          <p:cNvPr id="157" name="Picture 15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37" y="5472576"/>
            <a:ext cx="665512" cy="458598"/>
          </a:xfrm>
          <a:prstGeom prst="rect">
            <a:avLst/>
          </a:prstGeom>
        </p:spPr>
      </p:pic>
      <p:sp>
        <p:nvSpPr>
          <p:cNvPr id="165" name="TextBox 164"/>
          <p:cNvSpPr txBox="1"/>
          <p:nvPr/>
        </p:nvSpPr>
        <p:spPr>
          <a:xfrm>
            <a:off x="5254966" y="1333890"/>
            <a:ext cx="98318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d to cart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3178238" y="1333890"/>
            <a:ext cx="86902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ews</a:t>
            </a:r>
          </a:p>
        </p:txBody>
      </p:sp>
      <p:grpSp>
        <p:nvGrpSpPr>
          <p:cNvPr id="167" name="Group 11"/>
          <p:cNvGrpSpPr>
            <a:grpSpLocks noChangeAspect="1"/>
          </p:cNvGrpSpPr>
          <p:nvPr/>
        </p:nvGrpSpPr>
        <p:grpSpPr bwMode="auto">
          <a:xfrm>
            <a:off x="5540102" y="958797"/>
            <a:ext cx="355603" cy="360363"/>
            <a:chOff x="344" y="1999"/>
            <a:chExt cx="224" cy="227"/>
          </a:xfrm>
        </p:grpSpPr>
        <p:sp>
          <p:nvSpPr>
            <p:cNvPr id="349" name="Freeform 12"/>
            <p:cNvSpPr>
              <a:spLocks/>
            </p:cNvSpPr>
            <p:nvPr/>
          </p:nvSpPr>
          <p:spPr bwMode="auto">
            <a:xfrm>
              <a:off x="374" y="2049"/>
              <a:ext cx="194" cy="108"/>
            </a:xfrm>
            <a:custGeom>
              <a:avLst/>
              <a:gdLst>
                <a:gd name="T0" fmla="*/ 0 w 79"/>
                <a:gd name="T1" fmla="*/ 0 h 44"/>
                <a:gd name="T2" fmla="*/ 74 w 79"/>
                <a:gd name="T3" fmla="*/ 0 h 44"/>
                <a:gd name="T4" fmla="*/ 78 w 79"/>
                <a:gd name="T5" fmla="*/ 2 h 44"/>
                <a:gd name="T6" fmla="*/ 78 w 79"/>
                <a:gd name="T7" fmla="*/ 5 h 44"/>
                <a:gd name="T8" fmla="*/ 70 w 79"/>
                <a:gd name="T9" fmla="*/ 35 h 44"/>
                <a:gd name="T10" fmla="*/ 58 w 79"/>
                <a:gd name="T11" fmla="*/ 44 h 44"/>
                <a:gd name="T12" fmla="*/ 9 w 79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44">
                  <a:moveTo>
                    <a:pt x="0" y="0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76" y="0"/>
                    <a:pt x="77" y="1"/>
                    <a:pt x="78" y="2"/>
                  </a:cubicBezTo>
                  <a:cubicBezTo>
                    <a:pt x="78" y="3"/>
                    <a:pt x="79" y="4"/>
                    <a:pt x="78" y="5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69" y="40"/>
                    <a:pt x="64" y="44"/>
                    <a:pt x="58" y="44"/>
                  </a:cubicBezTo>
                  <a:cubicBezTo>
                    <a:pt x="9" y="44"/>
                    <a:pt x="9" y="44"/>
                    <a:pt x="9" y="44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0" name="Freeform 13"/>
            <p:cNvSpPr>
              <a:spLocks/>
            </p:cNvSpPr>
            <p:nvPr/>
          </p:nvSpPr>
          <p:spPr bwMode="auto">
            <a:xfrm>
              <a:off x="344" y="1999"/>
              <a:ext cx="187" cy="187"/>
            </a:xfrm>
            <a:custGeom>
              <a:avLst/>
              <a:gdLst>
                <a:gd name="T0" fmla="*/ 0 w 76"/>
                <a:gd name="T1" fmla="*/ 0 h 76"/>
                <a:gd name="T2" fmla="*/ 1 w 76"/>
                <a:gd name="T3" fmla="*/ 0 h 76"/>
                <a:gd name="T4" fmla="*/ 9 w 76"/>
                <a:gd name="T5" fmla="*/ 6 h 76"/>
                <a:gd name="T6" fmla="*/ 22 w 76"/>
                <a:gd name="T7" fmla="*/ 70 h 76"/>
                <a:gd name="T8" fmla="*/ 30 w 76"/>
                <a:gd name="T9" fmla="*/ 76 h 76"/>
                <a:gd name="T10" fmla="*/ 76 w 76"/>
                <a:gd name="T1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76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8" y="3"/>
                    <a:pt x="9" y="6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3" y="73"/>
                    <a:pt x="26" y="76"/>
                    <a:pt x="30" y="76"/>
                  </a:cubicBezTo>
                  <a:cubicBezTo>
                    <a:pt x="76" y="76"/>
                    <a:pt x="76" y="76"/>
                    <a:pt x="76" y="76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1" name="Oval 14"/>
            <p:cNvSpPr>
              <a:spLocks noChangeArrowheads="1"/>
            </p:cNvSpPr>
            <p:nvPr/>
          </p:nvSpPr>
          <p:spPr bwMode="auto">
            <a:xfrm>
              <a:off x="398" y="2196"/>
              <a:ext cx="30" cy="30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2" name="Oval 15"/>
            <p:cNvSpPr>
              <a:spLocks noChangeArrowheads="1"/>
            </p:cNvSpPr>
            <p:nvPr/>
          </p:nvSpPr>
          <p:spPr bwMode="auto">
            <a:xfrm>
              <a:off x="497" y="2196"/>
              <a:ext cx="29" cy="30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8" name="Group 4"/>
          <p:cNvGrpSpPr>
            <a:grpSpLocks noChangeAspect="1"/>
          </p:cNvGrpSpPr>
          <p:nvPr/>
        </p:nvGrpSpPr>
        <p:grpSpPr bwMode="auto">
          <a:xfrm>
            <a:off x="7714076" y="958797"/>
            <a:ext cx="352425" cy="360363"/>
            <a:chOff x="1604" y="1992"/>
            <a:chExt cx="222" cy="227"/>
          </a:xfrm>
        </p:grpSpPr>
        <p:sp>
          <p:nvSpPr>
            <p:cNvPr id="346" name="Freeform 345"/>
            <p:cNvSpPr>
              <a:spLocks/>
            </p:cNvSpPr>
            <p:nvPr/>
          </p:nvSpPr>
          <p:spPr bwMode="auto">
            <a:xfrm>
              <a:off x="1604" y="2061"/>
              <a:ext cx="222" cy="158"/>
            </a:xfrm>
            <a:custGeom>
              <a:avLst/>
              <a:gdLst>
                <a:gd name="T0" fmla="*/ 77 w 90"/>
                <a:gd name="T1" fmla="*/ 64 h 64"/>
                <a:gd name="T2" fmla="*/ 13 w 90"/>
                <a:gd name="T3" fmla="*/ 64 h 64"/>
                <a:gd name="T4" fmla="*/ 4 w 90"/>
                <a:gd name="T5" fmla="*/ 60 h 64"/>
                <a:gd name="T6" fmla="*/ 1 w 90"/>
                <a:gd name="T7" fmla="*/ 51 h 64"/>
                <a:gd name="T8" fmla="*/ 7 w 90"/>
                <a:gd name="T9" fmla="*/ 0 h 64"/>
                <a:gd name="T10" fmla="*/ 83 w 90"/>
                <a:gd name="T11" fmla="*/ 0 h 64"/>
                <a:gd name="T12" fmla="*/ 89 w 90"/>
                <a:gd name="T13" fmla="*/ 51 h 64"/>
                <a:gd name="T14" fmla="*/ 86 w 90"/>
                <a:gd name="T15" fmla="*/ 60 h 64"/>
                <a:gd name="T16" fmla="*/ 77 w 90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64">
                  <a:moveTo>
                    <a:pt x="77" y="64"/>
                  </a:moveTo>
                  <a:cubicBezTo>
                    <a:pt x="13" y="64"/>
                    <a:pt x="13" y="64"/>
                    <a:pt x="13" y="64"/>
                  </a:cubicBezTo>
                  <a:cubicBezTo>
                    <a:pt x="9" y="64"/>
                    <a:pt x="6" y="63"/>
                    <a:pt x="4" y="60"/>
                  </a:cubicBezTo>
                  <a:cubicBezTo>
                    <a:pt x="1" y="57"/>
                    <a:pt x="0" y="54"/>
                    <a:pt x="1" y="5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90" y="54"/>
                    <a:pt x="89" y="57"/>
                    <a:pt x="86" y="60"/>
                  </a:cubicBezTo>
                  <a:cubicBezTo>
                    <a:pt x="84" y="63"/>
                    <a:pt x="81" y="64"/>
                    <a:pt x="77" y="64"/>
                  </a:cubicBezTo>
                  <a:close/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7" name="Freeform 346"/>
            <p:cNvSpPr>
              <a:spLocks/>
            </p:cNvSpPr>
            <p:nvPr/>
          </p:nvSpPr>
          <p:spPr bwMode="auto">
            <a:xfrm>
              <a:off x="1621" y="2037"/>
              <a:ext cx="188" cy="24"/>
            </a:xfrm>
            <a:custGeom>
              <a:avLst/>
              <a:gdLst>
                <a:gd name="T0" fmla="*/ 14 w 76"/>
                <a:gd name="T1" fmla="*/ 0 h 10"/>
                <a:gd name="T2" fmla="*/ 8 w 76"/>
                <a:gd name="T3" fmla="*/ 0 h 10"/>
                <a:gd name="T4" fmla="*/ 5 w 76"/>
                <a:gd name="T5" fmla="*/ 2 h 10"/>
                <a:gd name="T6" fmla="*/ 0 w 76"/>
                <a:gd name="T7" fmla="*/ 10 h 10"/>
                <a:gd name="T8" fmla="*/ 76 w 76"/>
                <a:gd name="T9" fmla="*/ 10 h 10"/>
                <a:gd name="T10" fmla="*/ 71 w 76"/>
                <a:gd name="T11" fmla="*/ 2 h 10"/>
                <a:gd name="T12" fmla="*/ 68 w 76"/>
                <a:gd name="T13" fmla="*/ 0 h 10"/>
                <a:gd name="T14" fmla="*/ 62 w 76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0">
                  <a:moveTo>
                    <a:pt x="1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1"/>
                    <a:pt x="5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0" y="1"/>
                    <a:pt x="69" y="0"/>
                    <a:pt x="68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8" name="Freeform 347"/>
            <p:cNvSpPr>
              <a:spLocks/>
            </p:cNvSpPr>
            <p:nvPr/>
          </p:nvSpPr>
          <p:spPr bwMode="auto">
            <a:xfrm>
              <a:off x="1676" y="1992"/>
              <a:ext cx="78" cy="69"/>
            </a:xfrm>
            <a:custGeom>
              <a:avLst/>
              <a:gdLst>
                <a:gd name="T0" fmla="*/ 32 w 32"/>
                <a:gd name="T1" fmla="*/ 16 h 28"/>
                <a:gd name="T2" fmla="*/ 16 w 32"/>
                <a:gd name="T3" fmla="*/ 0 h 28"/>
                <a:gd name="T4" fmla="*/ 0 w 32"/>
                <a:gd name="T5" fmla="*/ 16 h 28"/>
                <a:gd name="T6" fmla="*/ 0 w 32"/>
                <a:gd name="T7" fmla="*/ 28 h 28"/>
                <a:gd name="T8" fmla="*/ 32 w 32"/>
                <a:gd name="T9" fmla="*/ 28 h 28"/>
                <a:gd name="T10" fmla="*/ 32 w 32"/>
                <a:gd name="T11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8">
                  <a:moveTo>
                    <a:pt x="32" y="16"/>
                  </a:move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2" y="28"/>
                    <a:pt x="32" y="28"/>
                    <a:pt x="32" y="28"/>
                  </a:cubicBezTo>
                  <a:lnTo>
                    <a:pt x="32" y="16"/>
                  </a:lnTo>
                  <a:close/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9" name="Group 259">
            <a:extLst>
              <a:ext uri="{FF2B5EF4-FFF2-40B4-BE49-F238E27FC236}">
                <a16:creationId xmlns:a16="http://schemas.microsoft.com/office/drawing/2014/main" id="{10CD3651-2B5F-4561-AF35-3D3DA37DD2C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58035" y="990547"/>
            <a:ext cx="298450" cy="296862"/>
            <a:chOff x="1758" y="909"/>
            <a:chExt cx="188" cy="187"/>
          </a:xfrm>
        </p:grpSpPr>
        <p:sp>
          <p:nvSpPr>
            <p:cNvPr id="339" name="Freeform 260">
              <a:extLst>
                <a:ext uri="{FF2B5EF4-FFF2-40B4-BE49-F238E27FC236}">
                  <a16:creationId xmlns:a16="http://schemas.microsoft.com/office/drawing/2014/main" id="{BE7CBB2B-BA7E-4B43-AE24-6AE8498D2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" y="909"/>
              <a:ext cx="24" cy="25"/>
            </a:xfrm>
            <a:custGeom>
              <a:avLst/>
              <a:gdLst>
                <a:gd name="T0" fmla="*/ 0 w 12"/>
                <a:gd name="T1" fmla="*/ 12 h 12"/>
                <a:gd name="T2" fmla="*/ 0 w 12"/>
                <a:gd name="T3" fmla="*/ 4 h 12"/>
                <a:gd name="T4" fmla="*/ 4 w 12"/>
                <a:gd name="T5" fmla="*/ 0 h 12"/>
                <a:gd name="T6" fmla="*/ 12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261">
              <a:extLst>
                <a:ext uri="{FF2B5EF4-FFF2-40B4-BE49-F238E27FC236}">
                  <a16:creationId xmlns:a16="http://schemas.microsoft.com/office/drawing/2014/main" id="{E8CDB7AD-4195-48B7-962A-4D2314A1F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" y="909"/>
              <a:ext cx="25" cy="25"/>
            </a:xfrm>
            <a:custGeom>
              <a:avLst/>
              <a:gdLst>
                <a:gd name="T0" fmla="*/ 12 w 12"/>
                <a:gd name="T1" fmla="*/ 12 h 12"/>
                <a:gd name="T2" fmla="*/ 12 w 12"/>
                <a:gd name="T3" fmla="*/ 4 h 12"/>
                <a:gd name="T4" fmla="*/ 8 w 12"/>
                <a:gd name="T5" fmla="*/ 0 h 12"/>
                <a:gd name="T6" fmla="*/ 0 w 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0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Freeform 262">
              <a:extLst>
                <a:ext uri="{FF2B5EF4-FFF2-40B4-BE49-F238E27FC236}">
                  <a16:creationId xmlns:a16="http://schemas.microsoft.com/office/drawing/2014/main" id="{6894E76D-10F8-4615-8EA0-826DB1913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" y="1072"/>
              <a:ext cx="24" cy="24"/>
            </a:xfrm>
            <a:custGeom>
              <a:avLst/>
              <a:gdLst>
                <a:gd name="T0" fmla="*/ 0 w 12"/>
                <a:gd name="T1" fmla="*/ 0 h 12"/>
                <a:gd name="T2" fmla="*/ 0 w 12"/>
                <a:gd name="T3" fmla="*/ 8 h 12"/>
                <a:gd name="T4" fmla="*/ 4 w 12"/>
                <a:gd name="T5" fmla="*/ 12 h 12"/>
                <a:gd name="T6" fmla="*/ 12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2" y="12"/>
                    <a:pt x="4" y="12"/>
                  </a:cubicBezTo>
                  <a:cubicBezTo>
                    <a:pt x="12" y="12"/>
                    <a:pt x="12" y="12"/>
                    <a:pt x="12" y="12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Freeform 263">
              <a:extLst>
                <a:ext uri="{FF2B5EF4-FFF2-40B4-BE49-F238E27FC236}">
                  <a16:creationId xmlns:a16="http://schemas.microsoft.com/office/drawing/2014/main" id="{B210F6D3-422D-404D-8B51-D1B5F74BB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1" y="1072"/>
              <a:ext cx="25" cy="24"/>
            </a:xfrm>
            <a:custGeom>
              <a:avLst/>
              <a:gdLst>
                <a:gd name="T0" fmla="*/ 12 w 12"/>
                <a:gd name="T1" fmla="*/ 0 h 12"/>
                <a:gd name="T2" fmla="*/ 12 w 12"/>
                <a:gd name="T3" fmla="*/ 8 h 12"/>
                <a:gd name="T4" fmla="*/ 8 w 12"/>
                <a:gd name="T5" fmla="*/ 12 h 12"/>
                <a:gd name="T6" fmla="*/ 0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cubicBezTo>
                    <a:pt x="12" y="8"/>
                    <a:pt x="12" y="8"/>
                    <a:pt x="12" y="8"/>
                  </a:cubicBezTo>
                  <a:cubicBezTo>
                    <a:pt x="12" y="10"/>
                    <a:pt x="10" y="12"/>
                    <a:pt x="8" y="12"/>
                  </a:cubicBezTo>
                  <a:cubicBezTo>
                    <a:pt x="0" y="12"/>
                    <a:pt x="0" y="12"/>
                    <a:pt x="0" y="12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Oval 264">
              <a:extLst>
                <a:ext uri="{FF2B5EF4-FFF2-40B4-BE49-F238E27FC236}">
                  <a16:creationId xmlns:a16="http://schemas.microsoft.com/office/drawing/2014/main" id="{C1441970-5706-442E-AA32-7157D55C8D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3" y="974"/>
              <a:ext cx="57" cy="57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Oval 265">
              <a:extLst>
                <a:ext uri="{FF2B5EF4-FFF2-40B4-BE49-F238E27FC236}">
                  <a16:creationId xmlns:a16="http://schemas.microsoft.com/office/drawing/2014/main" id="{FC8CAA09-614B-4A1D-95A0-F2482C747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0" y="1001"/>
              <a:ext cx="4" cy="4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Oval 266">
              <a:extLst>
                <a:ext uri="{FF2B5EF4-FFF2-40B4-BE49-F238E27FC236}">
                  <a16:creationId xmlns:a16="http://schemas.microsoft.com/office/drawing/2014/main" id="{AD77BBAE-E74E-45FF-8636-B89D45913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2" y="954"/>
              <a:ext cx="160" cy="97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0" name="TextBox 169"/>
          <p:cNvSpPr txBox="1"/>
          <p:nvPr/>
        </p:nvSpPr>
        <p:spPr>
          <a:xfrm>
            <a:off x="7077452" y="1363674"/>
            <a:ext cx="178855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urchase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165840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7" name="txt_station_views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4%</a:t>
            </a:r>
          </a:p>
        </p:txBody>
      </p:sp>
      <p:sp>
        <p:nvSpPr>
          <p:cNvPr id="338" name="txt_station_views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196239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741)</a:t>
            </a: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165840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34" name="txt_add_to_cart_station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8.5%</a:t>
            </a:r>
          </a:p>
        </p:txBody>
      </p:sp>
      <p:sp>
        <p:nvSpPr>
          <p:cNvPr id="335" name="txt_add_to_cart_station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196239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810)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165840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1" name="txt_device_station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168735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8.5%</a:t>
            </a:r>
          </a:p>
        </p:txBody>
      </p:sp>
      <p:sp>
        <p:nvSpPr>
          <p:cNvPr id="332" name="txt_device_station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196239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,003)</a:t>
            </a: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2403458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25" name="txt_mini_views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8.3%</a:t>
            </a:r>
          </a:p>
        </p:txBody>
      </p:sp>
      <p:sp>
        <p:nvSpPr>
          <p:cNvPr id="326" name="txt_mini_views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270744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946)</a:t>
            </a: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2403458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22" name="txt_add_to_cart_mini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4%</a:t>
            </a:r>
          </a:p>
        </p:txBody>
      </p:sp>
      <p:sp>
        <p:nvSpPr>
          <p:cNvPr id="323" name="txt_add_to_cart_mini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270744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509)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2403458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9" name="txt_device_mini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243240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7%</a:t>
            </a:r>
          </a:p>
        </p:txBody>
      </p:sp>
      <p:sp>
        <p:nvSpPr>
          <p:cNvPr id="320" name="txt_device_mini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270744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701)</a:t>
            </a: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314851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3" name="txt_flex_views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2%</a:t>
            </a:r>
          </a:p>
        </p:txBody>
      </p:sp>
      <p:sp>
        <p:nvSpPr>
          <p:cNvPr id="314" name="txt_flex_views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345250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615)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314851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10" name="txt_add_to_cart_flex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4%</a:t>
            </a:r>
          </a:p>
        </p:txBody>
      </p:sp>
      <p:sp>
        <p:nvSpPr>
          <p:cNvPr id="311" name="txt_add_to_cart_flex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345250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602)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314851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7" name="txt_device_flex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317746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6.9%</a:t>
            </a:r>
          </a:p>
        </p:txBody>
      </p:sp>
      <p:sp>
        <p:nvSpPr>
          <p:cNvPr id="308" name="txt_device_flex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345250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827)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3893568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1" name="txt_go_views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9%</a:t>
            </a:r>
          </a:p>
        </p:txBody>
      </p:sp>
      <p:sp>
        <p:nvSpPr>
          <p:cNvPr id="302" name="txt_go_views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419755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906)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3893568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98" name="txt_add_to_cart_go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1%</a:t>
            </a:r>
          </a:p>
        </p:txBody>
      </p:sp>
      <p:sp>
        <p:nvSpPr>
          <p:cNvPr id="299" name="txt_add_to_cart_go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419755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675)</a:t>
            </a: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3893568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5" name="txt_device_clover_go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3922518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3.2%</a:t>
            </a:r>
          </a:p>
        </p:txBody>
      </p:sp>
      <p:sp>
        <p:nvSpPr>
          <p:cNvPr id="296" name="txt_device_clover_go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4197559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426)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4638623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9" name="txt_station_pro_views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5.0%</a:t>
            </a:r>
          </a:p>
        </p:txBody>
      </p:sp>
      <p:sp>
        <p:nvSpPr>
          <p:cNvPr id="290" name="txt_station_pro_views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494261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591)</a:t>
            </a: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4638623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86" name="txt_add_to_cart_station_pro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3.3%</a:t>
            </a:r>
          </a:p>
        </p:txBody>
      </p:sp>
      <p:sp>
        <p:nvSpPr>
          <p:cNvPr id="287" name="txt_add_to_cart_station_pro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479637" y="494261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304)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4638623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3" name="txt_device_stationpro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4667573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8.5%</a:t>
            </a:r>
          </a:p>
        </p:txBody>
      </p:sp>
      <p:sp>
        <p:nvSpPr>
          <p:cNvPr id="284" name="txt_device_stationpro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4942614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2,000)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2730376" y="5383680"/>
            <a:ext cx="1768764" cy="594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900" b="1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7" name="txt_account_only_views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3137705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2%</a:t>
            </a:r>
          </a:p>
        </p:txBody>
      </p:sp>
      <p:sp>
        <p:nvSpPr>
          <p:cNvPr id="188" name="txt_account_only_views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3279571" y="5687671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827)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4930442" y="5383680"/>
            <a:ext cx="1768764" cy="594680"/>
          </a:xfrm>
          <a:prstGeom prst="rect">
            <a:avLst/>
          </a:prstGeom>
          <a:solidFill>
            <a:schemeClr val="accent2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bg1"/>
              </a:solidFill>
            </a:endParaRPr>
          </a:p>
          <a:p>
            <a:pPr algn="ctr"/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84" name="txt_add_to_cart_account_only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5337771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N/A</a:t>
            </a:r>
          </a:p>
        </p:txBody>
      </p:sp>
      <p:sp>
        <p:nvSpPr>
          <p:cNvPr id="185" name="txt_add_to_cart_account_only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5517307" y="5687671"/>
            <a:ext cx="595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N/A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DD1EE6E-6B39-4B44-A32A-EFCA6B2E9C80}"/>
              </a:ext>
            </a:extLst>
          </p:cNvPr>
          <p:cNvSpPr/>
          <p:nvPr/>
        </p:nvSpPr>
        <p:spPr>
          <a:xfrm>
            <a:off x="7088969" y="5383680"/>
            <a:ext cx="1768764" cy="594680"/>
          </a:xfrm>
          <a:prstGeom prst="rect">
            <a:avLst/>
          </a:prstGeom>
          <a:solidFill>
            <a:schemeClr val="accent1"/>
          </a:solidFill>
        </p:spPr>
        <p:txBody>
          <a:bodyPr wrap="none" lIns="182880" tIns="0" rIns="182880" bIns="0" anchor="ctr" anchorCtr="0"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1" name="txt_account_only_purchases_contrib_strat">
            <a:extLst>
              <a:ext uri="{FF2B5EF4-FFF2-40B4-BE49-F238E27FC236}">
                <a16:creationId xmlns:a16="http://schemas.microsoft.com/office/drawing/2014/main" id="{1C2D99E9-AD12-447C-9927-0F3BBCD15A45}"/>
              </a:ext>
            </a:extLst>
          </p:cNvPr>
          <p:cNvSpPr txBox="1"/>
          <p:nvPr/>
        </p:nvSpPr>
        <p:spPr>
          <a:xfrm flipH="1">
            <a:off x="7496298" y="5412630"/>
            <a:ext cx="95410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900" b="1" dirty="0">
                <a:solidFill>
                  <a:srgbClr val="FFFFFF"/>
                </a:solidFill>
              </a:rPr>
              <a:t>17.3%</a:t>
            </a:r>
          </a:p>
        </p:txBody>
      </p:sp>
      <p:sp>
        <p:nvSpPr>
          <p:cNvPr id="182" name="txt_account_only_purchases_strat">
            <a:extLst>
              <a:ext uri="{FF2B5EF4-FFF2-40B4-BE49-F238E27FC236}">
                <a16:creationId xmlns:a16="http://schemas.microsoft.com/office/drawing/2014/main" id="{5D2571C3-0408-4252-8001-62B1D299A6BA}"/>
              </a:ext>
            </a:extLst>
          </p:cNvPr>
          <p:cNvSpPr txBox="1"/>
          <p:nvPr/>
        </p:nvSpPr>
        <p:spPr>
          <a:xfrm>
            <a:off x="7638164" y="5687671"/>
            <a:ext cx="6703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(1,877)</a:t>
            </a:r>
          </a:p>
        </p:txBody>
      </p:sp>
      <p:sp>
        <p:nvSpPr>
          <p:cNvPr id="353" name="Freeform 352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354" name="Rectangle 353">
            <a:hlinkClick r:id="rId12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355" name="Rectangle 354">
            <a:hlinkClick r:id="rId13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A</a:t>
            </a:r>
          </a:p>
        </p:txBody>
      </p:sp>
      <p:sp>
        <p:nvSpPr>
          <p:cNvPr id="356" name="Rectangle 355">
            <a:hlinkClick r:id="rId14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B</a:t>
            </a:r>
          </a:p>
        </p:txBody>
      </p:sp>
      <p:sp>
        <p:nvSpPr>
          <p:cNvPr id="357" name="Rectangle 356">
            <a:hlinkClick r:id="rId15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358" name="Rectangle 357">
            <a:hlinkClick r:id="rId16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sp>
        <p:nvSpPr>
          <p:cNvPr id="105" name="Accounts Note">
            <a:extLst>
              <a:ext uri="{FF2B5EF4-FFF2-40B4-BE49-F238E27FC236}">
                <a16:creationId xmlns:a16="http://schemas.microsoft.com/office/drawing/2014/main" id="{479FD262-372B-426E-B4E0-85229DD455AB}"/>
              </a:ext>
            </a:extLst>
          </p:cNvPr>
          <p:cNvSpPr txBox="1"/>
          <p:nvPr/>
        </p:nvSpPr>
        <p:spPr>
          <a:xfrm>
            <a:off x="411480" y="6323189"/>
            <a:ext cx="59249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d to cart for Virtual will always be N/A due to unique purchase flow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16B3A6A7-7178-442F-A4F8-A3D62FD218B2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649349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Rectangle 212">
            <a:extLst>
              <a:ext uri="{FF2B5EF4-FFF2-40B4-BE49-F238E27FC236}">
                <a16:creationId xmlns:a16="http://schemas.microsoft.com/office/drawing/2014/main" id="{E84E5A22-E6A9-4795-81AE-FB95C15FF0AE}"/>
              </a:ext>
            </a:extLst>
          </p:cNvPr>
          <p:cNvSpPr/>
          <p:nvPr/>
        </p:nvSpPr>
        <p:spPr>
          <a:xfrm rot="5400000">
            <a:off x="8051336" y="2431050"/>
            <a:ext cx="5440077" cy="2368801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extBox 58"/>
          <p:cNvSpPr txBox="1"/>
          <p:nvPr/>
        </p:nvSpPr>
        <p:spPr>
          <a:xfrm>
            <a:off x="413220" y="211575"/>
            <a:ext cx="910577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2400">
                <a:solidFill>
                  <a:srgbClr val="2B5681"/>
                </a:solidFill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</a:rPr>
              <a:t>Executive Summar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1480" y="883274"/>
            <a:ext cx="265510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ustomer Journey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506036" y="5165433"/>
            <a:ext cx="3573915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Efficiency Metrics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512917" y="5537615"/>
            <a:ext cx="121368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sitor to Lead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344" name="txt_visitors_leads_reg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1811432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.1%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3039172" y="5537615"/>
            <a:ext cx="1574052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 to Application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348" name="txt_leads_applications_reg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4690679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84.9%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5848714" y="5537615"/>
            <a:ext cx="1955688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 to Approved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353" name="txt_application_approved_reg">
            <a:extLst>
              <a:ext uri="{FF2B5EF4-FFF2-40B4-BE49-F238E27FC236}">
                <a16:creationId xmlns:a16="http://schemas.microsoft.com/office/drawing/2014/main" id="{A535A78F-3472-4AE6-A7B5-FC23A1D7AE6E}"/>
              </a:ext>
            </a:extLst>
          </p:cNvPr>
          <p:cNvSpPr/>
          <p:nvPr/>
        </p:nvSpPr>
        <p:spPr>
          <a:xfrm>
            <a:off x="7861450" y="5514202"/>
            <a:ext cx="980224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5.4%</a:t>
            </a:r>
          </a:p>
        </p:txBody>
      </p:sp>
      <p:cxnSp>
        <p:nvCxnSpPr>
          <p:cNvPr id="177" name="Straight Connector 176"/>
          <p:cNvCxnSpPr/>
          <p:nvPr/>
        </p:nvCxnSpPr>
        <p:spPr>
          <a:xfrm>
            <a:off x="506036" y="4994359"/>
            <a:ext cx="591783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2242DF8F-F73B-45A5-B4BD-76E50F196FE3}"/>
              </a:ext>
            </a:extLst>
          </p:cNvPr>
          <p:cNvSpPr txBox="1"/>
          <p:nvPr/>
        </p:nvSpPr>
        <p:spPr>
          <a:xfrm>
            <a:off x="446665" y="1282835"/>
            <a:ext cx="1446718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verall Journey</a:t>
            </a:r>
          </a:p>
        </p:txBody>
      </p:sp>
      <p:sp>
        <p:nvSpPr>
          <p:cNvPr id="119" name="Freeform 118">
            <a:hlinkClick r:id="" action="ppaction://noaction"/>
          </p:cNvPr>
          <p:cNvSpPr>
            <a:spLocks/>
          </p:cNvSpPr>
          <p:nvPr/>
        </p:nvSpPr>
        <p:spPr bwMode="auto">
          <a:xfrm>
            <a:off x="1435798" y="4032210"/>
            <a:ext cx="1358126" cy="824610"/>
          </a:xfrm>
          <a:custGeom>
            <a:avLst/>
            <a:gdLst>
              <a:gd name="connsiteX0" fmla="*/ 0 w 1581150"/>
              <a:gd name="connsiteY0" fmla="*/ 0 h 816952"/>
              <a:gd name="connsiteX1" fmla="*/ 1579865 w 1581150"/>
              <a:gd name="connsiteY1" fmla="*/ 0 h 816952"/>
              <a:gd name="connsiteX2" fmla="*/ 1579171 w 1581150"/>
              <a:gd name="connsiteY2" fmla="*/ 1461 h 816952"/>
              <a:gd name="connsiteX3" fmla="*/ 1577138 w 1581150"/>
              <a:gd name="connsiteY3" fmla="*/ 5739 h 816952"/>
              <a:gd name="connsiteX4" fmla="*/ 1581150 w 1581150"/>
              <a:gd name="connsiteY4" fmla="*/ 5739 h 816952"/>
              <a:gd name="connsiteX5" fmla="*/ 1225625 w 1581150"/>
              <a:gd name="connsiteY5" fmla="*/ 816952 h 816952"/>
              <a:gd name="connsiteX6" fmla="*/ 355525 w 1581150"/>
              <a:gd name="connsiteY6" fmla="*/ 816952 h 816952"/>
              <a:gd name="connsiteX7" fmla="*/ 0 w 1581150"/>
              <a:gd name="connsiteY7" fmla="*/ 5739 h 816952"/>
              <a:gd name="connsiteX8" fmla="*/ 2727 w 1581150"/>
              <a:gd name="connsiteY8" fmla="*/ 5739 h 81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150" h="816952">
                <a:moveTo>
                  <a:pt x="0" y="0"/>
                </a:moveTo>
                <a:cubicBezTo>
                  <a:pt x="0" y="0"/>
                  <a:pt x="0" y="0"/>
                  <a:pt x="1579865" y="0"/>
                </a:cubicBezTo>
                <a:cubicBezTo>
                  <a:pt x="1579865" y="0"/>
                  <a:pt x="1579865" y="0"/>
                  <a:pt x="1579171" y="1461"/>
                </a:cubicBezTo>
                <a:lnTo>
                  <a:pt x="1577138" y="5739"/>
                </a:lnTo>
                <a:lnTo>
                  <a:pt x="1581150" y="5739"/>
                </a:lnTo>
                <a:cubicBezTo>
                  <a:pt x="1581150" y="5739"/>
                  <a:pt x="1581150" y="5739"/>
                  <a:pt x="1225625" y="816952"/>
                </a:cubicBezTo>
                <a:lnTo>
                  <a:pt x="355525" y="816952"/>
                </a:lnTo>
                <a:cubicBezTo>
                  <a:pt x="355525" y="816952"/>
                  <a:pt x="355525" y="816952"/>
                  <a:pt x="0" y="5739"/>
                </a:cubicBezTo>
                <a:lnTo>
                  <a:pt x="2727" y="573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0" name="Freeform 119"/>
          <p:cNvSpPr>
            <a:spLocks/>
          </p:cNvSpPr>
          <p:nvPr/>
        </p:nvSpPr>
        <p:spPr bwMode="auto">
          <a:xfrm>
            <a:off x="1104050" y="3206980"/>
            <a:ext cx="2021622" cy="925260"/>
          </a:xfrm>
          <a:custGeom>
            <a:avLst/>
            <a:gdLst>
              <a:gd name="connsiteX0" fmla="*/ 0 w 2353600"/>
              <a:gd name="connsiteY0" fmla="*/ 0 h 916666"/>
              <a:gd name="connsiteX1" fmla="*/ 2353600 w 2353600"/>
              <a:gd name="connsiteY1" fmla="*/ 0 h 916666"/>
              <a:gd name="connsiteX2" fmla="*/ 1966733 w 2353600"/>
              <a:gd name="connsiteY2" fmla="*/ 817567 h 916666"/>
              <a:gd name="connsiteX3" fmla="*/ 1240643 w 2353600"/>
              <a:gd name="connsiteY3" fmla="*/ 817567 h 916666"/>
              <a:gd name="connsiteX4" fmla="*/ 1177753 w 2353600"/>
              <a:gd name="connsiteY4" fmla="*/ 916666 h 916666"/>
              <a:gd name="connsiteX5" fmla="*/ 1177481 w 2353600"/>
              <a:gd name="connsiteY5" fmla="*/ 916224 h 916666"/>
              <a:gd name="connsiteX6" fmla="*/ 1177209 w 2353600"/>
              <a:gd name="connsiteY6" fmla="*/ 916666 h 916666"/>
              <a:gd name="connsiteX7" fmla="*/ 1114662 w 2353600"/>
              <a:gd name="connsiteY7" fmla="*/ 817567 h 916666"/>
              <a:gd name="connsiteX8" fmla="*/ 386867 w 2353600"/>
              <a:gd name="connsiteY8" fmla="*/ 817567 h 916666"/>
              <a:gd name="connsiteX9" fmla="*/ 386381 w 2353600"/>
              <a:gd name="connsiteY9" fmla="*/ 816539 h 916666"/>
              <a:gd name="connsiteX10" fmla="*/ 385055 w 2353600"/>
              <a:gd name="connsiteY10" fmla="*/ 816539 h 916666"/>
              <a:gd name="connsiteX11" fmla="*/ 0 w 2353600"/>
              <a:gd name="connsiteY11" fmla="*/ 2266 h 916666"/>
              <a:gd name="connsiteX12" fmla="*/ 1073 w 2353600"/>
              <a:gd name="connsiteY12" fmla="*/ 2266 h 91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53600" h="916666">
                <a:moveTo>
                  <a:pt x="0" y="0"/>
                </a:moveTo>
                <a:lnTo>
                  <a:pt x="2353600" y="0"/>
                </a:lnTo>
                <a:lnTo>
                  <a:pt x="1966733" y="817567"/>
                </a:lnTo>
                <a:lnTo>
                  <a:pt x="1240643" y="817567"/>
                </a:lnTo>
                <a:lnTo>
                  <a:pt x="1177753" y="916666"/>
                </a:lnTo>
                <a:lnTo>
                  <a:pt x="1177481" y="916224"/>
                </a:lnTo>
                <a:lnTo>
                  <a:pt x="1177209" y="916666"/>
                </a:lnTo>
                <a:lnTo>
                  <a:pt x="1114662" y="817567"/>
                </a:lnTo>
                <a:lnTo>
                  <a:pt x="386867" y="817567"/>
                </a:lnTo>
                <a:lnTo>
                  <a:pt x="386381" y="816539"/>
                </a:lnTo>
                <a:lnTo>
                  <a:pt x="385055" y="816539"/>
                </a:lnTo>
                <a:lnTo>
                  <a:pt x="0" y="2266"/>
                </a:lnTo>
                <a:lnTo>
                  <a:pt x="1073" y="2266"/>
                </a:lnTo>
                <a:close/>
              </a:path>
            </a:pathLst>
          </a:custGeom>
          <a:solidFill>
            <a:srgbClr val="9B9B9B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1" name="Freeform 120"/>
          <p:cNvSpPr>
            <a:spLocks/>
          </p:cNvSpPr>
          <p:nvPr/>
        </p:nvSpPr>
        <p:spPr bwMode="auto">
          <a:xfrm>
            <a:off x="775026" y="2381748"/>
            <a:ext cx="2679671" cy="932953"/>
          </a:xfrm>
          <a:custGeom>
            <a:avLst/>
            <a:gdLst>
              <a:gd name="T0" fmla="*/ 0 w 1637"/>
              <a:gd name="T1" fmla="*/ 0 h 485"/>
              <a:gd name="T2" fmla="*/ 201 w 1637"/>
              <a:gd name="T3" fmla="*/ 431 h 485"/>
              <a:gd name="T4" fmla="*/ 785 w 1637"/>
              <a:gd name="T5" fmla="*/ 431 h 485"/>
              <a:gd name="T6" fmla="*/ 820 w 1637"/>
              <a:gd name="T7" fmla="*/ 485 h 485"/>
              <a:gd name="T8" fmla="*/ 851 w 1637"/>
              <a:gd name="T9" fmla="*/ 431 h 485"/>
              <a:gd name="T10" fmla="*/ 1435 w 1637"/>
              <a:gd name="T11" fmla="*/ 431 h 485"/>
              <a:gd name="T12" fmla="*/ 1637 w 1637"/>
              <a:gd name="T13" fmla="*/ 0 h 485"/>
              <a:gd name="T14" fmla="*/ 0 w 1637"/>
              <a:gd name="T15" fmla="*/ 0 h 485"/>
              <a:gd name="T16" fmla="*/ 0 w 1637"/>
              <a:gd name="T17" fmla="*/ 0 h 485"/>
              <a:gd name="T18" fmla="*/ 0 w 1637"/>
              <a:gd name="T19" fmla="*/ 0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37" h="485">
                <a:moveTo>
                  <a:pt x="0" y="0"/>
                </a:moveTo>
                <a:lnTo>
                  <a:pt x="201" y="431"/>
                </a:lnTo>
                <a:lnTo>
                  <a:pt x="785" y="431"/>
                </a:lnTo>
                <a:lnTo>
                  <a:pt x="820" y="485"/>
                </a:lnTo>
                <a:lnTo>
                  <a:pt x="851" y="431"/>
                </a:lnTo>
                <a:lnTo>
                  <a:pt x="1435" y="431"/>
                </a:lnTo>
                <a:lnTo>
                  <a:pt x="1637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125" name="Freeform 124"/>
          <p:cNvSpPr>
            <a:spLocks/>
          </p:cNvSpPr>
          <p:nvPr/>
        </p:nvSpPr>
        <p:spPr bwMode="auto">
          <a:xfrm>
            <a:off x="441090" y="1558443"/>
            <a:ext cx="3347541" cy="925260"/>
          </a:xfrm>
          <a:custGeom>
            <a:avLst/>
            <a:gdLst>
              <a:gd name="T0" fmla="*/ 1250 w 1250"/>
              <a:gd name="T1" fmla="*/ 0 h 294"/>
              <a:gd name="T2" fmla="*/ 1126 w 1250"/>
              <a:gd name="T3" fmla="*/ 261 h 294"/>
              <a:gd name="T4" fmla="*/ 646 w 1250"/>
              <a:gd name="T5" fmla="*/ 261 h 294"/>
              <a:gd name="T6" fmla="*/ 626 w 1250"/>
              <a:gd name="T7" fmla="*/ 294 h 294"/>
              <a:gd name="T8" fmla="*/ 605 w 1250"/>
              <a:gd name="T9" fmla="*/ 261 h 294"/>
              <a:gd name="T10" fmla="*/ 125 w 1250"/>
              <a:gd name="T11" fmla="*/ 261 h 294"/>
              <a:gd name="T12" fmla="*/ 55 w 1250"/>
              <a:gd name="T13" fmla="*/ 115 h 294"/>
              <a:gd name="T14" fmla="*/ 55 w 1250"/>
              <a:gd name="T15" fmla="*/ 115 h 294"/>
              <a:gd name="T16" fmla="*/ 0 w 1250"/>
              <a:gd name="T17" fmla="*/ 0 h 294"/>
              <a:gd name="T18" fmla="*/ 135 w 1250"/>
              <a:gd name="T19" fmla="*/ 0 h 294"/>
              <a:gd name="T20" fmla="*/ 135 w 1250"/>
              <a:gd name="T21" fmla="*/ 0 h 294"/>
              <a:gd name="T22" fmla="*/ 626 w 1250"/>
              <a:gd name="T23" fmla="*/ 0 h 294"/>
              <a:gd name="T24" fmla="*/ 1095 w 1250"/>
              <a:gd name="T25" fmla="*/ 0 h 294"/>
              <a:gd name="T26" fmla="*/ 1095 w 1250"/>
              <a:gd name="T27" fmla="*/ 0 h 294"/>
              <a:gd name="T28" fmla="*/ 1250 w 1250"/>
              <a:gd name="T29" fmla="*/ 0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50" h="294">
                <a:moveTo>
                  <a:pt x="1250" y="0"/>
                </a:moveTo>
                <a:cubicBezTo>
                  <a:pt x="1126" y="261"/>
                  <a:pt x="1126" y="261"/>
                  <a:pt x="1126" y="261"/>
                </a:cubicBezTo>
                <a:cubicBezTo>
                  <a:pt x="646" y="261"/>
                  <a:pt x="646" y="261"/>
                  <a:pt x="646" y="261"/>
                </a:cubicBezTo>
                <a:cubicBezTo>
                  <a:pt x="646" y="261"/>
                  <a:pt x="646" y="261"/>
                  <a:pt x="626" y="294"/>
                </a:cubicBezTo>
                <a:cubicBezTo>
                  <a:pt x="626" y="294"/>
                  <a:pt x="626" y="294"/>
                  <a:pt x="605" y="261"/>
                </a:cubicBezTo>
                <a:cubicBezTo>
                  <a:pt x="605" y="261"/>
                  <a:pt x="605" y="261"/>
                  <a:pt x="125" y="261"/>
                </a:cubicBezTo>
                <a:cubicBezTo>
                  <a:pt x="125" y="261"/>
                  <a:pt x="124" y="261"/>
                  <a:pt x="55" y="115"/>
                </a:cubicBezTo>
                <a:cubicBezTo>
                  <a:pt x="55" y="115"/>
                  <a:pt x="55" y="115"/>
                  <a:pt x="55" y="115"/>
                </a:cubicBezTo>
                <a:cubicBezTo>
                  <a:pt x="0" y="0"/>
                  <a:pt x="0" y="0"/>
                  <a:pt x="0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626" y="0"/>
                  <a:pt x="626" y="0"/>
                  <a:pt x="626" y="0"/>
                </a:cubicBezTo>
                <a:cubicBezTo>
                  <a:pt x="626" y="0"/>
                  <a:pt x="626" y="0"/>
                  <a:pt x="1095" y="0"/>
                </a:cubicBezTo>
                <a:cubicBezTo>
                  <a:pt x="1095" y="0"/>
                  <a:pt x="1095" y="0"/>
                  <a:pt x="1095" y="0"/>
                </a:cubicBezTo>
                <a:lnTo>
                  <a:pt x="1250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/>
          </a:p>
        </p:txBody>
      </p:sp>
      <p:sp>
        <p:nvSpPr>
          <p:cNvPr id="126" name="txt_visitors_reg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1988142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510,250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1554969" y="1880590"/>
            <a:ext cx="1127387" cy="1812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/>
              <a:t>Visitors</a:t>
            </a:r>
          </a:p>
        </p:txBody>
      </p:sp>
      <p:grpSp>
        <p:nvGrpSpPr>
          <p:cNvPr id="128" name="Group 4"/>
          <p:cNvGrpSpPr>
            <a:grpSpLocks noChangeAspect="1"/>
          </p:cNvGrpSpPr>
          <p:nvPr/>
        </p:nvGrpSpPr>
        <p:grpSpPr bwMode="auto">
          <a:xfrm>
            <a:off x="1999625" y="4197511"/>
            <a:ext cx="230472" cy="212989"/>
            <a:chOff x="1229" y="3302"/>
            <a:chExt cx="196" cy="196"/>
          </a:xfrm>
        </p:grpSpPr>
        <p:sp>
          <p:nvSpPr>
            <p:cNvPr id="129" name="Oval 128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1" name="Freeform 130"/>
          <p:cNvSpPr>
            <a:spLocks noEditPoints="1"/>
          </p:cNvSpPr>
          <p:nvPr/>
        </p:nvSpPr>
        <p:spPr bwMode="auto">
          <a:xfrm>
            <a:off x="1997479" y="3368350"/>
            <a:ext cx="234764" cy="214325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32" name="Group 131"/>
          <p:cNvGrpSpPr/>
          <p:nvPr/>
        </p:nvGrpSpPr>
        <p:grpSpPr>
          <a:xfrm>
            <a:off x="1988371" y="2528651"/>
            <a:ext cx="252982" cy="232293"/>
            <a:chOff x="5972176" y="3303588"/>
            <a:chExt cx="247650" cy="246063"/>
          </a:xfrm>
        </p:grpSpPr>
        <p:sp>
          <p:nvSpPr>
            <p:cNvPr id="133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6" name="Group 8"/>
          <p:cNvGrpSpPr>
            <a:grpSpLocks noChangeAspect="1"/>
          </p:cNvGrpSpPr>
          <p:nvPr/>
        </p:nvGrpSpPr>
        <p:grpSpPr bwMode="auto">
          <a:xfrm>
            <a:off x="1963332" y="1708156"/>
            <a:ext cx="303057" cy="151212"/>
            <a:chOff x="264" y="1506"/>
            <a:chExt cx="213" cy="115"/>
          </a:xfrm>
        </p:grpSpPr>
        <p:sp>
          <p:nvSpPr>
            <p:cNvPr id="137" name="Oval 9"/>
            <p:cNvSpPr>
              <a:spLocks noChangeArrowheads="1"/>
            </p:cNvSpPr>
            <p:nvPr/>
          </p:nvSpPr>
          <p:spPr bwMode="auto">
            <a:xfrm>
              <a:off x="342" y="1506"/>
              <a:ext cx="57" cy="57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Freeform 10"/>
            <p:cNvSpPr>
              <a:spLocks/>
            </p:cNvSpPr>
            <p:nvPr/>
          </p:nvSpPr>
          <p:spPr bwMode="auto">
            <a:xfrm>
              <a:off x="324" y="1574"/>
              <a:ext cx="93" cy="47"/>
            </a:xfrm>
            <a:custGeom>
              <a:avLst/>
              <a:gdLst>
                <a:gd name="T0" fmla="*/ 0 w 56"/>
                <a:gd name="T1" fmla="*/ 28 h 28"/>
                <a:gd name="T2" fmla="*/ 28 w 56"/>
                <a:gd name="T3" fmla="*/ 0 h 28"/>
                <a:gd name="T4" fmla="*/ 56 w 56"/>
                <a:gd name="T5" fmla="*/ 28 h 28"/>
                <a:gd name="T6" fmla="*/ 0 w 56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28">
                  <a:moveTo>
                    <a:pt x="0" y="28"/>
                  </a:moveTo>
                  <a:cubicBezTo>
                    <a:pt x="0" y="13"/>
                    <a:pt x="13" y="0"/>
                    <a:pt x="28" y="0"/>
                  </a:cubicBezTo>
                  <a:cubicBezTo>
                    <a:pt x="44" y="0"/>
                    <a:pt x="56" y="13"/>
                    <a:pt x="56" y="28"/>
                  </a:cubicBezTo>
                  <a:lnTo>
                    <a:pt x="0" y="2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Freeform 11"/>
            <p:cNvSpPr>
              <a:spLocks/>
            </p:cNvSpPr>
            <p:nvPr/>
          </p:nvSpPr>
          <p:spPr bwMode="auto">
            <a:xfrm>
              <a:off x="424" y="1582"/>
              <a:ext cx="53" cy="39"/>
            </a:xfrm>
            <a:custGeom>
              <a:avLst/>
              <a:gdLst>
                <a:gd name="T0" fmla="*/ 4 w 32"/>
                <a:gd name="T1" fmla="*/ 23 h 23"/>
                <a:gd name="T2" fmla="*/ 32 w 32"/>
                <a:gd name="T3" fmla="*/ 23 h 23"/>
                <a:gd name="T4" fmla="*/ 22 w 32"/>
                <a:gd name="T5" fmla="*/ 5 h 23"/>
                <a:gd name="T6" fmla="*/ 0 w 32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3">
                  <a:moveTo>
                    <a:pt x="4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16"/>
                    <a:pt x="28" y="9"/>
                    <a:pt x="22" y="5"/>
                  </a:cubicBezTo>
                  <a:cubicBezTo>
                    <a:pt x="15" y="1"/>
                    <a:pt x="7" y="0"/>
                    <a:pt x="0" y="4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Oval 12"/>
            <p:cNvSpPr>
              <a:spLocks noChangeArrowheads="1"/>
            </p:cNvSpPr>
            <p:nvPr/>
          </p:nvSpPr>
          <p:spPr bwMode="auto">
            <a:xfrm>
              <a:off x="419" y="1530"/>
              <a:ext cx="43" cy="44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1" name="Freeform 13"/>
            <p:cNvSpPr>
              <a:spLocks/>
            </p:cNvSpPr>
            <p:nvPr/>
          </p:nvSpPr>
          <p:spPr bwMode="auto">
            <a:xfrm>
              <a:off x="264" y="1582"/>
              <a:ext cx="53" cy="39"/>
            </a:xfrm>
            <a:custGeom>
              <a:avLst/>
              <a:gdLst>
                <a:gd name="T0" fmla="*/ 28 w 32"/>
                <a:gd name="T1" fmla="*/ 23 h 23"/>
                <a:gd name="T2" fmla="*/ 0 w 32"/>
                <a:gd name="T3" fmla="*/ 23 h 23"/>
                <a:gd name="T4" fmla="*/ 10 w 32"/>
                <a:gd name="T5" fmla="*/ 5 h 23"/>
                <a:gd name="T6" fmla="*/ 32 w 32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3">
                  <a:moveTo>
                    <a:pt x="28" y="23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6"/>
                    <a:pt x="4" y="9"/>
                    <a:pt x="10" y="5"/>
                  </a:cubicBezTo>
                  <a:cubicBezTo>
                    <a:pt x="17" y="1"/>
                    <a:pt x="25" y="0"/>
                    <a:pt x="32" y="4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Oval 14"/>
            <p:cNvSpPr>
              <a:spLocks noChangeArrowheads="1"/>
            </p:cNvSpPr>
            <p:nvPr/>
          </p:nvSpPr>
          <p:spPr bwMode="auto">
            <a:xfrm>
              <a:off x="279" y="1530"/>
              <a:ext cx="43" cy="44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5" name="txt_leads_reg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2875808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10,944</a:t>
            </a:r>
          </a:p>
        </p:txBody>
      </p:sp>
      <p:sp>
        <p:nvSpPr>
          <p:cNvPr id="146" name="Rectangle 145"/>
          <p:cNvSpPr/>
          <p:nvPr/>
        </p:nvSpPr>
        <p:spPr>
          <a:xfrm>
            <a:off x="1554969" y="2777755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Leads</a:t>
            </a:r>
          </a:p>
        </p:txBody>
      </p:sp>
      <p:sp>
        <p:nvSpPr>
          <p:cNvPr id="147" name="txt_total_app_reg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3698757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31,176</a:t>
            </a:r>
          </a:p>
        </p:txBody>
      </p:sp>
      <p:sp>
        <p:nvSpPr>
          <p:cNvPr id="149" name="Rectangle 148"/>
          <p:cNvSpPr/>
          <p:nvPr/>
        </p:nvSpPr>
        <p:spPr>
          <a:xfrm>
            <a:off x="1554969" y="3600703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pplications</a:t>
            </a:r>
          </a:p>
        </p:txBody>
      </p:sp>
      <p:sp>
        <p:nvSpPr>
          <p:cNvPr id="150" name="txt_tot_approved_reg">
            <a:extLst>
              <a:ext uri="{FF2B5EF4-FFF2-40B4-BE49-F238E27FC236}">
                <a16:creationId xmlns:a16="http://schemas.microsoft.com/office/drawing/2014/main" id="{E9DADD63-F1D0-42B4-9058-233D318D2069}"/>
              </a:ext>
            </a:extLst>
          </p:cNvPr>
          <p:cNvSpPr/>
          <p:nvPr/>
        </p:nvSpPr>
        <p:spPr>
          <a:xfrm>
            <a:off x="1233182" y="4521061"/>
            <a:ext cx="1770962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11,037</a:t>
            </a:r>
          </a:p>
        </p:txBody>
      </p:sp>
      <p:sp>
        <p:nvSpPr>
          <p:cNvPr id="151" name="Rectangle 150"/>
          <p:cNvSpPr/>
          <p:nvPr/>
        </p:nvSpPr>
        <p:spPr>
          <a:xfrm>
            <a:off x="1554969" y="4423006"/>
            <a:ext cx="1127387" cy="1418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pprovals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0177925" y="1099441"/>
            <a:ext cx="160901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800"/>
              </a:spcBef>
            </a:pPr>
            <a:r>
              <a:rPr lang="en-US" dirty="0">
                <a:solidFill>
                  <a:schemeClr val="bg1"/>
                </a:solidFill>
              </a:rPr>
              <a:t>Key Insights</a:t>
            </a:r>
          </a:p>
        </p:txBody>
      </p:sp>
      <p:sp>
        <p:nvSpPr>
          <p:cNvPr id="89" name="summary_third_insight_reg"/>
          <p:cNvSpPr txBox="1"/>
          <p:nvPr/>
        </p:nvSpPr>
        <p:spPr>
          <a:xfrm>
            <a:off x="9687600" y="4769933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1" name="focus_product_metric_reg"/>
          <p:cNvSpPr txBox="1"/>
          <p:nvPr/>
        </p:nvSpPr>
        <p:spPr>
          <a:xfrm>
            <a:off x="9916000" y="4796440"/>
            <a:ext cx="183491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Focus on maintaining Product Purchase Rate for Prod C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summary_first_insight_reg"/>
          <p:cNvSpPr txBox="1"/>
          <p:nvPr/>
        </p:nvSpPr>
        <p:spPr>
          <a:xfrm>
            <a:off x="9687600" y="1625797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86" name="summary_second_insight_reg"/>
          <p:cNvSpPr txBox="1"/>
          <p:nvPr/>
        </p:nvSpPr>
        <p:spPr>
          <a:xfrm>
            <a:off x="9687600" y="3498879"/>
            <a:ext cx="2809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84" name="focus_dropout_reg"/>
          <p:cNvSpPr txBox="1"/>
          <p:nvPr/>
        </p:nvSpPr>
        <p:spPr>
          <a:xfrm>
            <a:off x="9920909" y="1652301"/>
            <a:ext cx="2034867" cy="14773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Group B has Visitor to Leads Ratio of 2.1% over time. It has not varied much and is 2.5% in May'21 vs. 2.5% in Apr'21 (*Monthly percentage calculations are 3 months rolling). Focus on improving Visitor to Leads Ratio</a:t>
            </a:r>
          </a:p>
        </p:txBody>
      </p:sp>
      <p:sp>
        <p:nvSpPr>
          <p:cNvPr id="87" name="focus_change_reg"/>
          <p:cNvSpPr txBox="1"/>
          <p:nvPr/>
        </p:nvSpPr>
        <p:spPr>
          <a:xfrm>
            <a:off x="9916000" y="3538639"/>
            <a:ext cx="19968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rgbClr val="FFFFFF"/>
                </a:solidFill>
              </a:rPr>
              <a:t>Focus on improving Visitor to Leads Ratio. It is the lowest  (2.1%) among the  efficiency metric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518991" y="3461844"/>
            <a:ext cx="2393816" cy="1260361"/>
            <a:chOff x="9237442" y="3461844"/>
            <a:chExt cx="2667832" cy="1260361"/>
          </a:xfrm>
        </p:grpSpPr>
        <p:cxnSp>
          <p:nvCxnSpPr>
            <p:cNvPr id="95" name="Straight Connector 94"/>
            <p:cNvCxnSpPr/>
            <p:nvPr/>
          </p:nvCxnSpPr>
          <p:spPr>
            <a:xfrm>
              <a:off x="9237442" y="3461844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9265322" y="4722205"/>
              <a:ext cx="2639952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0" name="Data Note">
            <a:extLst>
              <a:ext uri="{FF2B5EF4-FFF2-40B4-BE49-F238E27FC236}">
                <a16:creationId xmlns:a16="http://schemas.microsoft.com/office/drawing/2014/main" id="{1DBCB9FE-B1B6-4A42-B35E-60D694EB72EC}"/>
              </a:ext>
            </a:extLst>
          </p:cNvPr>
          <p:cNvSpPr txBox="1"/>
          <p:nvPr/>
        </p:nvSpPr>
        <p:spPr>
          <a:xfrm>
            <a:off x="411480" y="6144360"/>
            <a:ext cx="2231380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lvl="0">
              <a:spcBef>
                <a:spcPts val="800"/>
              </a:spcBef>
              <a:defRPr/>
            </a:pPr>
            <a:r>
              <a:rPr lang="en-US" sz="800" i="1" dirty="0">
                <a:solidFill>
                  <a:srgbClr val="000000"/>
                </a:solidFill>
              </a:rPr>
              <a:t>Note: The current period of analysis is 2021 YTD</a:t>
            </a:r>
          </a:p>
        </p:txBody>
      </p:sp>
      <p:sp>
        <p:nvSpPr>
          <p:cNvPr id="207" name="Freeform 206">
            <a:extLst>
              <a:ext uri="{FF2B5EF4-FFF2-40B4-BE49-F238E27FC236}">
                <a16:creationId xmlns:a16="http://schemas.microsoft.com/office/drawing/2014/main" id="{99CA4B48-0EC2-490D-9625-292145356755}"/>
              </a:ext>
            </a:extLst>
          </p:cNvPr>
          <p:cNvSpPr/>
          <p:nvPr/>
        </p:nvSpPr>
        <p:spPr>
          <a:xfrm>
            <a:off x="7404554" y="413771"/>
            <a:ext cx="4551226" cy="347472"/>
          </a:xfrm>
          <a:custGeom>
            <a:avLst/>
            <a:gdLst>
              <a:gd name="connsiteX0" fmla="*/ 0 w 4551226"/>
              <a:gd name="connsiteY0" fmla="*/ 0 h 379027"/>
              <a:gd name="connsiteX1" fmla="*/ 4551226 w 4551226"/>
              <a:gd name="connsiteY1" fmla="*/ 0 h 379027"/>
              <a:gd name="connsiteX2" fmla="*/ 4551226 w 4551226"/>
              <a:gd name="connsiteY2" fmla="*/ 379027 h 379027"/>
              <a:gd name="connsiteX3" fmla="*/ 0 w 4551226"/>
              <a:gd name="connsiteY3" fmla="*/ 379027 h 379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226" h="379027">
                <a:moveTo>
                  <a:pt x="0" y="0"/>
                </a:moveTo>
                <a:lnTo>
                  <a:pt x="4551226" y="0"/>
                </a:lnTo>
                <a:lnTo>
                  <a:pt x="4551226" y="379027"/>
                </a:lnTo>
                <a:lnTo>
                  <a:pt x="0" y="379027"/>
                </a:lnTo>
                <a:close/>
              </a:path>
            </a:pathLst>
          </a:custGeom>
          <a:solidFill>
            <a:srgbClr val="DDDDDD"/>
          </a:solidFill>
        </p:spPr>
        <p:txBody>
          <a:bodyPr wrap="square" tIns="45720" bIns="0">
            <a:noAutofit/>
          </a:bodyPr>
          <a:lstStyle/>
          <a:p>
            <a:pPr lvl="0" algn="ctr">
              <a:defRPr/>
            </a:pPr>
            <a:endParaRPr lang="en-US" sz="1100" dirty="0">
              <a:solidFill>
                <a:srgbClr val="2B5681"/>
              </a:solidFill>
            </a:endParaRPr>
          </a:p>
        </p:txBody>
      </p:sp>
      <p:sp>
        <p:nvSpPr>
          <p:cNvPr id="208" name="Rectangle 207">
            <a:hlinkClick r:id="rId6" action="ppaction://hlinksldjump"/>
            <a:extLst>
              <a:ext uri="{FF2B5EF4-FFF2-40B4-BE49-F238E27FC236}">
                <a16:creationId xmlns:a16="http://schemas.microsoft.com/office/drawing/2014/main" id="{BBE52390-7DA3-4204-BD38-10A3F1A2F8B4}"/>
              </a:ext>
            </a:extLst>
          </p:cNvPr>
          <p:cNvSpPr/>
          <p:nvPr/>
        </p:nvSpPr>
        <p:spPr>
          <a:xfrm flipH="1">
            <a:off x="7404552" y="413770"/>
            <a:ext cx="1166399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Universe</a:t>
            </a:r>
          </a:p>
        </p:txBody>
      </p:sp>
      <p:sp>
        <p:nvSpPr>
          <p:cNvPr id="209" name="Rectangle 208">
            <a:hlinkClick r:id="rId7" action="ppaction://hlinksldjump"/>
            <a:extLst>
              <a:ext uri="{FF2B5EF4-FFF2-40B4-BE49-F238E27FC236}">
                <a16:creationId xmlns:a16="http://schemas.microsoft.com/office/drawing/2014/main" id="{2440153B-2EB2-4F45-AFF5-3354763B83B0}"/>
              </a:ext>
            </a:extLst>
          </p:cNvPr>
          <p:cNvSpPr/>
          <p:nvPr/>
        </p:nvSpPr>
        <p:spPr>
          <a:xfrm>
            <a:off x="8585134" y="413770"/>
            <a:ext cx="105560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A</a:t>
            </a:r>
          </a:p>
        </p:txBody>
      </p:sp>
      <p:sp>
        <p:nvSpPr>
          <p:cNvPr id="210" name="Rectangle 209">
            <a:hlinkClick r:id="rId8" action="ppaction://hlinksldjump"/>
            <a:extLst>
              <a:ext uri="{FF2B5EF4-FFF2-40B4-BE49-F238E27FC236}">
                <a16:creationId xmlns:a16="http://schemas.microsoft.com/office/drawing/2014/main" id="{8762E4A7-3EA7-45CF-AFCE-A5B29C8B2503}"/>
              </a:ext>
            </a:extLst>
          </p:cNvPr>
          <p:cNvSpPr/>
          <p:nvPr/>
        </p:nvSpPr>
        <p:spPr>
          <a:xfrm>
            <a:off x="9639405" y="413770"/>
            <a:ext cx="970506" cy="3474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Group B</a:t>
            </a:r>
          </a:p>
        </p:txBody>
      </p:sp>
      <p:sp>
        <p:nvSpPr>
          <p:cNvPr id="211" name="Rectangle 210">
            <a:hlinkClick r:id="rId9" action="ppaction://hlinksldjump"/>
            <a:extLst>
              <a:ext uri="{FF2B5EF4-FFF2-40B4-BE49-F238E27FC236}">
                <a16:creationId xmlns:a16="http://schemas.microsoft.com/office/drawing/2014/main" id="{34EFC3D8-8357-4F39-904C-9D71B1C40EDF}"/>
              </a:ext>
            </a:extLst>
          </p:cNvPr>
          <p:cNvSpPr/>
          <p:nvPr/>
        </p:nvSpPr>
        <p:spPr>
          <a:xfrm>
            <a:off x="10624093" y="413770"/>
            <a:ext cx="665948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C</a:t>
            </a:r>
          </a:p>
        </p:txBody>
      </p:sp>
      <p:sp>
        <p:nvSpPr>
          <p:cNvPr id="212" name="Rectangle 211">
            <a:hlinkClick r:id="rId10" action="ppaction://hlinksldjump"/>
            <a:extLst>
              <a:ext uri="{FF2B5EF4-FFF2-40B4-BE49-F238E27FC236}">
                <a16:creationId xmlns:a16="http://schemas.microsoft.com/office/drawing/2014/main" id="{E3285077-7DC3-4565-89F6-4181C8D7FD6A}"/>
              </a:ext>
            </a:extLst>
          </p:cNvPr>
          <p:cNvSpPr/>
          <p:nvPr/>
        </p:nvSpPr>
        <p:spPr>
          <a:xfrm>
            <a:off x="11308702" y="413769"/>
            <a:ext cx="647077" cy="347472"/>
          </a:xfrm>
          <a:prstGeom prst="rect">
            <a:avLst/>
          </a:prstGeom>
          <a:noFill/>
        </p:spPr>
        <p:txBody>
          <a:bodyPr wrap="none" tIns="45720" bIns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A5A5A"/>
                </a:solidFill>
              </a:rPr>
              <a:t>Group D</a:t>
            </a:r>
          </a:p>
        </p:txBody>
      </p:sp>
      <p:cxnSp>
        <p:nvCxnSpPr>
          <p:cNvPr id="107" name="Straight Connector 106"/>
          <p:cNvCxnSpPr>
            <a:cxnSpLocks/>
          </p:cNvCxnSpPr>
          <p:nvPr/>
        </p:nvCxnSpPr>
        <p:spPr>
          <a:xfrm flipH="1">
            <a:off x="3948430" y="3190064"/>
            <a:ext cx="475361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/>
          <p:cNvSpPr txBox="1"/>
          <p:nvPr/>
        </p:nvSpPr>
        <p:spPr>
          <a:xfrm>
            <a:off x="3941544" y="2039815"/>
            <a:ext cx="1694282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Self-Service Journey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3941544" y="3552593"/>
            <a:ext cx="178111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Rep-Assisted Journey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7922906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53" name="txt_self_service_approvals_reg"/>
          <p:cNvSpPr/>
          <p:nvPr/>
        </p:nvSpPr>
        <p:spPr>
          <a:xfrm>
            <a:off x="7922906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0,000</a:t>
            </a:r>
          </a:p>
        </p:txBody>
      </p:sp>
      <p:grpSp>
        <p:nvGrpSpPr>
          <p:cNvPr id="154" name="Group 4"/>
          <p:cNvGrpSpPr>
            <a:grpSpLocks noChangeAspect="1"/>
          </p:cNvGrpSpPr>
          <p:nvPr/>
        </p:nvGrpSpPr>
        <p:grpSpPr bwMode="auto">
          <a:xfrm>
            <a:off x="7524728" y="2458886"/>
            <a:ext cx="280673" cy="280673"/>
            <a:chOff x="1229" y="3302"/>
            <a:chExt cx="196" cy="196"/>
          </a:xfrm>
        </p:grpSpPr>
        <p:sp>
          <p:nvSpPr>
            <p:cNvPr id="155" name="Oval 154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6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6158739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42" name="txt_self_service_applications_reg"/>
          <p:cNvSpPr/>
          <p:nvPr/>
        </p:nvSpPr>
        <p:spPr>
          <a:xfrm>
            <a:off x="6158739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29,194</a:t>
            </a:r>
          </a:p>
        </p:txBody>
      </p:sp>
      <p:sp>
        <p:nvSpPr>
          <p:cNvPr id="144" name="Freeform 143"/>
          <p:cNvSpPr>
            <a:spLocks noEditPoints="1"/>
          </p:cNvSpPr>
          <p:nvPr/>
        </p:nvSpPr>
        <p:spPr bwMode="auto">
          <a:xfrm>
            <a:off x="5755334" y="2455840"/>
            <a:ext cx="285900" cy="282433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rgbClr val="404040"/>
          </a:solidFill>
          <a:ln w="317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4389344" y="2416345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16" name="txt_self_service_leads_reg"/>
          <p:cNvSpPr/>
          <p:nvPr/>
        </p:nvSpPr>
        <p:spPr>
          <a:xfrm>
            <a:off x="4389344" y="2581313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9,741</a:t>
            </a:r>
          </a:p>
        </p:txBody>
      </p:sp>
      <p:grpSp>
        <p:nvGrpSpPr>
          <p:cNvPr id="117" name="Group 116"/>
          <p:cNvGrpSpPr/>
          <p:nvPr/>
        </p:nvGrpSpPr>
        <p:grpSpPr>
          <a:xfrm>
            <a:off x="3963754" y="2471116"/>
            <a:ext cx="308085" cy="306111"/>
            <a:chOff x="5972176" y="3303588"/>
            <a:chExt cx="247650" cy="246063"/>
          </a:xfrm>
        </p:grpSpPr>
        <p:sp>
          <p:nvSpPr>
            <p:cNvPr id="118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70" name="Rectangle 169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7922906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rovals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71" name="txt_rep_assisted_approvals_reg"/>
          <p:cNvSpPr/>
          <p:nvPr/>
        </p:nvSpPr>
        <p:spPr>
          <a:xfrm>
            <a:off x="7922906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10,113</a:t>
            </a:r>
          </a:p>
        </p:txBody>
      </p:sp>
      <p:grpSp>
        <p:nvGrpSpPr>
          <p:cNvPr id="172" name="Group 4"/>
          <p:cNvGrpSpPr>
            <a:grpSpLocks noChangeAspect="1"/>
          </p:cNvGrpSpPr>
          <p:nvPr/>
        </p:nvGrpSpPr>
        <p:grpSpPr bwMode="auto">
          <a:xfrm>
            <a:off x="7524728" y="3976340"/>
            <a:ext cx="280673" cy="280673"/>
            <a:chOff x="1229" y="3302"/>
            <a:chExt cx="196" cy="196"/>
          </a:xfrm>
        </p:grpSpPr>
        <p:sp>
          <p:nvSpPr>
            <p:cNvPr id="173" name="Oval 172"/>
            <p:cNvSpPr>
              <a:spLocks noChangeArrowheads="1"/>
            </p:cNvSpPr>
            <p:nvPr/>
          </p:nvSpPr>
          <p:spPr bwMode="auto">
            <a:xfrm>
              <a:off x="1229" y="3302"/>
              <a:ext cx="196" cy="196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" name="Freeform 6"/>
            <p:cNvSpPr>
              <a:spLocks/>
            </p:cNvSpPr>
            <p:nvPr/>
          </p:nvSpPr>
          <p:spPr bwMode="auto">
            <a:xfrm>
              <a:off x="1282" y="3371"/>
              <a:ext cx="90" cy="70"/>
            </a:xfrm>
            <a:custGeom>
              <a:avLst/>
              <a:gdLst>
                <a:gd name="T0" fmla="*/ 22 w 22"/>
                <a:gd name="T1" fmla="*/ 0 h 17"/>
                <a:gd name="T2" fmla="*/ 10 w 22"/>
                <a:gd name="T3" fmla="*/ 16 h 17"/>
                <a:gd name="T4" fmla="*/ 8 w 22"/>
                <a:gd name="T5" fmla="*/ 17 h 17"/>
                <a:gd name="T6" fmla="*/ 6 w 22"/>
                <a:gd name="T7" fmla="*/ 16 h 17"/>
                <a:gd name="T8" fmla="*/ 0 w 22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0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8" y="17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7" name="Rectangle 166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6158739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68" name="txt_rep_assisted_applications_reg"/>
          <p:cNvSpPr/>
          <p:nvPr/>
        </p:nvSpPr>
        <p:spPr>
          <a:xfrm>
            <a:off x="6158739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30,280</a:t>
            </a:r>
          </a:p>
        </p:txBody>
      </p:sp>
      <p:sp>
        <p:nvSpPr>
          <p:cNvPr id="169" name="Freeform 168"/>
          <p:cNvSpPr>
            <a:spLocks noEditPoints="1"/>
          </p:cNvSpPr>
          <p:nvPr/>
        </p:nvSpPr>
        <p:spPr bwMode="auto">
          <a:xfrm>
            <a:off x="5755334" y="3973294"/>
            <a:ext cx="285900" cy="282433"/>
          </a:xfrm>
          <a:custGeom>
            <a:avLst/>
            <a:gdLst>
              <a:gd name="T0" fmla="*/ 6 w 89"/>
              <a:gd name="T1" fmla="*/ 88 h 88"/>
              <a:gd name="T2" fmla="*/ 0 w 89"/>
              <a:gd name="T3" fmla="*/ 20 h 88"/>
              <a:gd name="T4" fmla="*/ 11 w 89"/>
              <a:gd name="T5" fmla="*/ 14 h 88"/>
              <a:gd name="T6" fmla="*/ 17 w 89"/>
              <a:gd name="T7" fmla="*/ 0 h 88"/>
              <a:gd name="T8" fmla="*/ 89 w 89"/>
              <a:gd name="T9" fmla="*/ 5 h 88"/>
              <a:gd name="T10" fmla="*/ 83 w 89"/>
              <a:gd name="T11" fmla="*/ 77 h 88"/>
              <a:gd name="T12" fmla="*/ 74 w 89"/>
              <a:gd name="T13" fmla="*/ 82 h 88"/>
              <a:gd name="T14" fmla="*/ 6 w 89"/>
              <a:gd name="T15" fmla="*/ 18 h 88"/>
              <a:gd name="T16" fmla="*/ 4 w 89"/>
              <a:gd name="T17" fmla="*/ 82 h 88"/>
              <a:gd name="T18" fmla="*/ 68 w 89"/>
              <a:gd name="T19" fmla="*/ 84 h 88"/>
              <a:gd name="T20" fmla="*/ 70 w 89"/>
              <a:gd name="T21" fmla="*/ 77 h 88"/>
              <a:gd name="T22" fmla="*/ 11 w 89"/>
              <a:gd name="T23" fmla="*/ 71 h 88"/>
              <a:gd name="T24" fmla="*/ 6 w 89"/>
              <a:gd name="T25" fmla="*/ 18 h 88"/>
              <a:gd name="T26" fmla="*/ 15 w 89"/>
              <a:gd name="T27" fmla="*/ 71 h 88"/>
              <a:gd name="T28" fmla="*/ 83 w 89"/>
              <a:gd name="T29" fmla="*/ 73 h 88"/>
              <a:gd name="T30" fmla="*/ 85 w 89"/>
              <a:gd name="T31" fmla="*/ 5 h 88"/>
              <a:gd name="T32" fmla="*/ 17 w 89"/>
              <a:gd name="T33" fmla="*/ 4 h 88"/>
              <a:gd name="T34" fmla="*/ 15 w 89"/>
              <a:gd name="T35" fmla="*/ 16 h 88"/>
              <a:gd name="T36" fmla="*/ 28 w 89"/>
              <a:gd name="T37" fmla="*/ 62 h 88"/>
              <a:gd name="T38" fmla="*/ 28 w 89"/>
              <a:gd name="T39" fmla="*/ 58 h 88"/>
              <a:gd name="T40" fmla="*/ 50 w 89"/>
              <a:gd name="T41" fmla="*/ 60 h 88"/>
              <a:gd name="T42" fmla="*/ 72 w 89"/>
              <a:gd name="T43" fmla="*/ 48 h 88"/>
              <a:gd name="T44" fmla="*/ 26 w 89"/>
              <a:gd name="T45" fmla="*/ 46 h 88"/>
              <a:gd name="T46" fmla="*/ 72 w 89"/>
              <a:gd name="T47" fmla="*/ 44 h 88"/>
              <a:gd name="T48" fmla="*/ 72 w 89"/>
              <a:gd name="T49" fmla="*/ 48 h 88"/>
              <a:gd name="T50" fmla="*/ 28 w 89"/>
              <a:gd name="T51" fmla="*/ 33 h 88"/>
              <a:gd name="T52" fmla="*/ 28 w 89"/>
              <a:gd name="T53" fmla="*/ 29 h 88"/>
              <a:gd name="T54" fmla="*/ 74 w 89"/>
              <a:gd name="T55" fmla="*/ 31 h 88"/>
              <a:gd name="T56" fmla="*/ 72 w 89"/>
              <a:gd name="T57" fmla="*/ 18 h 88"/>
              <a:gd name="T58" fmla="*/ 26 w 89"/>
              <a:gd name="T59" fmla="*/ 16 h 88"/>
              <a:gd name="T60" fmla="*/ 72 w 89"/>
              <a:gd name="T61" fmla="*/ 14 h 88"/>
              <a:gd name="T62" fmla="*/ 72 w 89"/>
              <a:gd name="T63" fmla="*/ 1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9" h="88">
                <a:moveTo>
                  <a:pt x="68" y="88"/>
                </a:moveTo>
                <a:cubicBezTo>
                  <a:pt x="6" y="88"/>
                  <a:pt x="6" y="88"/>
                  <a:pt x="6" y="88"/>
                </a:cubicBezTo>
                <a:cubicBezTo>
                  <a:pt x="3" y="88"/>
                  <a:pt x="0" y="86"/>
                  <a:pt x="0" y="8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6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2"/>
                  <a:pt x="14" y="0"/>
                  <a:pt x="17" y="0"/>
                </a:cubicBezTo>
                <a:cubicBezTo>
                  <a:pt x="83" y="0"/>
                  <a:pt x="83" y="0"/>
                  <a:pt x="83" y="0"/>
                </a:cubicBezTo>
                <a:cubicBezTo>
                  <a:pt x="86" y="0"/>
                  <a:pt x="89" y="2"/>
                  <a:pt x="89" y="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5"/>
                  <a:pt x="86" y="77"/>
                  <a:pt x="83" y="77"/>
                </a:cubicBezTo>
                <a:cubicBezTo>
                  <a:pt x="74" y="77"/>
                  <a:pt x="74" y="77"/>
                  <a:pt x="74" y="77"/>
                </a:cubicBezTo>
                <a:cubicBezTo>
                  <a:pt x="74" y="82"/>
                  <a:pt x="74" y="82"/>
                  <a:pt x="74" y="82"/>
                </a:cubicBezTo>
                <a:cubicBezTo>
                  <a:pt x="74" y="86"/>
                  <a:pt x="71" y="88"/>
                  <a:pt x="68" y="88"/>
                </a:cubicBezTo>
                <a:close/>
                <a:moveTo>
                  <a:pt x="6" y="18"/>
                </a:moveTo>
                <a:cubicBezTo>
                  <a:pt x="5" y="18"/>
                  <a:pt x="4" y="19"/>
                  <a:pt x="4" y="20"/>
                </a:cubicBezTo>
                <a:cubicBezTo>
                  <a:pt x="4" y="82"/>
                  <a:pt x="4" y="82"/>
                  <a:pt x="4" y="82"/>
                </a:cubicBezTo>
                <a:cubicBezTo>
                  <a:pt x="4" y="83"/>
                  <a:pt x="5" y="84"/>
                  <a:pt x="6" y="84"/>
                </a:cubicBezTo>
                <a:cubicBezTo>
                  <a:pt x="68" y="84"/>
                  <a:pt x="68" y="84"/>
                  <a:pt x="68" y="84"/>
                </a:cubicBezTo>
                <a:cubicBezTo>
                  <a:pt x="69" y="84"/>
                  <a:pt x="70" y="83"/>
                  <a:pt x="70" y="82"/>
                </a:cubicBezTo>
                <a:cubicBezTo>
                  <a:pt x="70" y="77"/>
                  <a:pt x="70" y="77"/>
                  <a:pt x="7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14" y="77"/>
                  <a:pt x="11" y="75"/>
                  <a:pt x="11" y="71"/>
                </a:cubicBezTo>
                <a:cubicBezTo>
                  <a:pt x="11" y="18"/>
                  <a:pt x="11" y="18"/>
                  <a:pt x="11" y="18"/>
                </a:cubicBezTo>
                <a:lnTo>
                  <a:pt x="6" y="18"/>
                </a:lnTo>
                <a:close/>
                <a:moveTo>
                  <a:pt x="15" y="16"/>
                </a:moveTo>
                <a:cubicBezTo>
                  <a:pt x="15" y="71"/>
                  <a:pt x="15" y="71"/>
                  <a:pt x="15" y="71"/>
                </a:cubicBezTo>
                <a:cubicBezTo>
                  <a:pt x="15" y="72"/>
                  <a:pt x="16" y="73"/>
                  <a:pt x="17" y="73"/>
                </a:cubicBezTo>
                <a:cubicBezTo>
                  <a:pt x="83" y="73"/>
                  <a:pt x="83" y="73"/>
                  <a:pt x="83" y="73"/>
                </a:cubicBezTo>
                <a:cubicBezTo>
                  <a:pt x="84" y="73"/>
                  <a:pt x="85" y="72"/>
                  <a:pt x="85" y="71"/>
                </a:cubicBezTo>
                <a:cubicBezTo>
                  <a:pt x="85" y="5"/>
                  <a:pt x="85" y="5"/>
                  <a:pt x="85" y="5"/>
                </a:cubicBezTo>
                <a:cubicBezTo>
                  <a:pt x="85" y="5"/>
                  <a:pt x="84" y="4"/>
                  <a:pt x="83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4"/>
                  <a:pt x="15" y="5"/>
                  <a:pt x="15" y="5"/>
                </a:cubicBezTo>
                <a:lnTo>
                  <a:pt x="15" y="16"/>
                </a:lnTo>
                <a:close/>
                <a:moveTo>
                  <a:pt x="48" y="62"/>
                </a:moveTo>
                <a:cubicBezTo>
                  <a:pt x="28" y="62"/>
                  <a:pt x="28" y="62"/>
                  <a:pt x="28" y="62"/>
                </a:cubicBezTo>
                <a:cubicBezTo>
                  <a:pt x="27" y="62"/>
                  <a:pt x="26" y="62"/>
                  <a:pt x="26" y="60"/>
                </a:cubicBezTo>
                <a:cubicBezTo>
                  <a:pt x="26" y="59"/>
                  <a:pt x="27" y="58"/>
                  <a:pt x="28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9" y="58"/>
                  <a:pt x="50" y="59"/>
                  <a:pt x="50" y="60"/>
                </a:cubicBezTo>
                <a:cubicBezTo>
                  <a:pt x="50" y="62"/>
                  <a:pt x="49" y="62"/>
                  <a:pt x="48" y="62"/>
                </a:cubicBezTo>
                <a:close/>
                <a:moveTo>
                  <a:pt x="72" y="48"/>
                </a:moveTo>
                <a:cubicBezTo>
                  <a:pt x="28" y="48"/>
                  <a:pt x="28" y="48"/>
                  <a:pt x="28" y="48"/>
                </a:cubicBezTo>
                <a:cubicBezTo>
                  <a:pt x="27" y="48"/>
                  <a:pt x="26" y="47"/>
                  <a:pt x="26" y="46"/>
                </a:cubicBezTo>
                <a:cubicBezTo>
                  <a:pt x="26" y="45"/>
                  <a:pt x="27" y="44"/>
                  <a:pt x="28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3" y="44"/>
                  <a:pt x="74" y="45"/>
                  <a:pt x="74" y="46"/>
                </a:cubicBezTo>
                <a:cubicBezTo>
                  <a:pt x="74" y="47"/>
                  <a:pt x="73" y="48"/>
                  <a:pt x="72" y="48"/>
                </a:cubicBezTo>
                <a:close/>
                <a:moveTo>
                  <a:pt x="72" y="33"/>
                </a:moveTo>
                <a:cubicBezTo>
                  <a:pt x="28" y="33"/>
                  <a:pt x="28" y="33"/>
                  <a:pt x="28" y="33"/>
                </a:cubicBezTo>
                <a:cubicBezTo>
                  <a:pt x="27" y="33"/>
                  <a:pt x="26" y="32"/>
                  <a:pt x="26" y="31"/>
                </a:cubicBezTo>
                <a:cubicBezTo>
                  <a:pt x="26" y="30"/>
                  <a:pt x="27" y="29"/>
                  <a:pt x="28" y="29"/>
                </a:cubicBezTo>
                <a:cubicBezTo>
                  <a:pt x="72" y="29"/>
                  <a:pt x="72" y="29"/>
                  <a:pt x="72" y="29"/>
                </a:cubicBezTo>
                <a:cubicBezTo>
                  <a:pt x="73" y="29"/>
                  <a:pt x="74" y="30"/>
                  <a:pt x="74" y="31"/>
                </a:cubicBezTo>
                <a:cubicBezTo>
                  <a:pt x="74" y="32"/>
                  <a:pt x="73" y="33"/>
                  <a:pt x="72" y="33"/>
                </a:cubicBezTo>
                <a:close/>
                <a:moveTo>
                  <a:pt x="72" y="18"/>
                </a:moveTo>
                <a:cubicBezTo>
                  <a:pt x="28" y="18"/>
                  <a:pt x="28" y="18"/>
                  <a:pt x="28" y="18"/>
                </a:cubicBezTo>
                <a:cubicBezTo>
                  <a:pt x="27" y="18"/>
                  <a:pt x="26" y="18"/>
                  <a:pt x="26" y="16"/>
                </a:cubicBezTo>
                <a:cubicBezTo>
                  <a:pt x="26" y="15"/>
                  <a:pt x="27" y="14"/>
                  <a:pt x="28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3" y="14"/>
                  <a:pt x="74" y="15"/>
                  <a:pt x="74" y="16"/>
                </a:cubicBezTo>
                <a:cubicBezTo>
                  <a:pt x="74" y="18"/>
                  <a:pt x="73" y="18"/>
                  <a:pt x="72" y="18"/>
                </a:cubicBezTo>
                <a:close/>
              </a:path>
            </a:pathLst>
          </a:custGeom>
          <a:solidFill>
            <a:srgbClr val="404040"/>
          </a:solidFill>
          <a:ln w="3175" cap="rnd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B45DF2C0-6C9E-4663-A8A9-23E0F988A6F4}"/>
              </a:ext>
            </a:extLst>
          </p:cNvPr>
          <p:cNvSpPr/>
          <p:nvPr/>
        </p:nvSpPr>
        <p:spPr>
          <a:xfrm>
            <a:off x="4389344" y="3933799"/>
            <a:ext cx="728219" cy="1615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s 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62" name="txt_rep_assisted_leads_reg"/>
          <p:cNvSpPr/>
          <p:nvPr/>
        </p:nvSpPr>
        <p:spPr>
          <a:xfrm>
            <a:off x="4389344" y="4098767"/>
            <a:ext cx="728219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rgbClr val="228800"/>
                </a:solidFill>
              </a:rPr>
              <a:t>8,861</a:t>
            </a:r>
          </a:p>
        </p:txBody>
      </p:sp>
      <p:grpSp>
        <p:nvGrpSpPr>
          <p:cNvPr id="163" name="Group 162"/>
          <p:cNvGrpSpPr/>
          <p:nvPr/>
        </p:nvGrpSpPr>
        <p:grpSpPr>
          <a:xfrm>
            <a:off x="3963754" y="3988570"/>
            <a:ext cx="308085" cy="306111"/>
            <a:chOff x="5972176" y="3303588"/>
            <a:chExt cx="247650" cy="246063"/>
          </a:xfrm>
        </p:grpSpPr>
        <p:sp>
          <p:nvSpPr>
            <p:cNvPr id="164" name="Oval 17"/>
            <p:cNvSpPr>
              <a:spLocks noChangeArrowheads="1"/>
            </p:cNvSpPr>
            <p:nvPr/>
          </p:nvSpPr>
          <p:spPr bwMode="auto">
            <a:xfrm>
              <a:off x="6002338" y="3303588"/>
              <a:ext cx="90488" cy="90488"/>
            </a:xfrm>
            <a:prstGeom prst="ellipse">
              <a:avLst/>
            </a:pr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" name="Freeform 18"/>
            <p:cNvSpPr>
              <a:spLocks/>
            </p:cNvSpPr>
            <p:nvPr/>
          </p:nvSpPr>
          <p:spPr bwMode="auto">
            <a:xfrm>
              <a:off x="5972176" y="3405188"/>
              <a:ext cx="128588" cy="79375"/>
            </a:xfrm>
            <a:custGeom>
              <a:avLst/>
              <a:gdLst>
                <a:gd name="T0" fmla="*/ 36 w 48"/>
                <a:gd name="T1" fmla="*/ 30 h 30"/>
                <a:gd name="T2" fmla="*/ 0 w 48"/>
                <a:gd name="T3" fmla="*/ 30 h 30"/>
                <a:gd name="T4" fmla="*/ 17 w 48"/>
                <a:gd name="T5" fmla="*/ 4 h 30"/>
                <a:gd name="T6" fmla="*/ 48 w 48"/>
                <a:gd name="T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30">
                  <a:moveTo>
                    <a:pt x="36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19"/>
                    <a:pt x="7" y="8"/>
                    <a:pt x="17" y="4"/>
                  </a:cubicBezTo>
                  <a:cubicBezTo>
                    <a:pt x="28" y="0"/>
                    <a:pt x="40" y="2"/>
                    <a:pt x="48" y="10"/>
                  </a:cubicBezTo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Freeform 19"/>
            <p:cNvSpPr>
              <a:spLocks/>
            </p:cNvSpPr>
            <p:nvPr/>
          </p:nvSpPr>
          <p:spPr bwMode="auto">
            <a:xfrm>
              <a:off x="6091238" y="3421063"/>
              <a:ext cx="128588" cy="128588"/>
            </a:xfrm>
            <a:custGeom>
              <a:avLst/>
              <a:gdLst>
                <a:gd name="T0" fmla="*/ 27 w 48"/>
                <a:gd name="T1" fmla="*/ 2 h 48"/>
                <a:gd name="T2" fmla="*/ 33 w 48"/>
                <a:gd name="T3" fmla="*/ 15 h 48"/>
                <a:gd name="T4" fmla="*/ 45 w 48"/>
                <a:gd name="T5" fmla="*/ 15 h 48"/>
                <a:gd name="T6" fmla="*/ 48 w 48"/>
                <a:gd name="T7" fmla="*/ 17 h 48"/>
                <a:gd name="T8" fmla="*/ 47 w 48"/>
                <a:gd name="T9" fmla="*/ 20 h 48"/>
                <a:gd name="T10" fmla="*/ 37 w 48"/>
                <a:gd name="T11" fmla="*/ 30 h 48"/>
                <a:gd name="T12" fmla="*/ 42 w 48"/>
                <a:gd name="T13" fmla="*/ 44 h 48"/>
                <a:gd name="T14" fmla="*/ 42 w 48"/>
                <a:gd name="T15" fmla="*/ 47 h 48"/>
                <a:gd name="T16" fmla="*/ 38 w 48"/>
                <a:gd name="T17" fmla="*/ 48 h 48"/>
                <a:gd name="T18" fmla="*/ 24 w 48"/>
                <a:gd name="T19" fmla="*/ 40 h 48"/>
                <a:gd name="T20" fmla="*/ 10 w 48"/>
                <a:gd name="T21" fmla="*/ 48 h 48"/>
                <a:gd name="T22" fmla="*/ 6 w 48"/>
                <a:gd name="T23" fmla="*/ 47 h 48"/>
                <a:gd name="T24" fmla="*/ 6 w 48"/>
                <a:gd name="T25" fmla="*/ 44 h 48"/>
                <a:gd name="T26" fmla="*/ 11 w 48"/>
                <a:gd name="T27" fmla="*/ 30 h 48"/>
                <a:gd name="T28" fmla="*/ 1 w 48"/>
                <a:gd name="T29" fmla="*/ 20 h 48"/>
                <a:gd name="T30" fmla="*/ 0 w 48"/>
                <a:gd name="T31" fmla="*/ 17 h 48"/>
                <a:gd name="T32" fmla="*/ 3 w 48"/>
                <a:gd name="T33" fmla="*/ 15 h 48"/>
                <a:gd name="T34" fmla="*/ 15 w 48"/>
                <a:gd name="T35" fmla="*/ 15 h 48"/>
                <a:gd name="T36" fmla="*/ 21 w 48"/>
                <a:gd name="T37" fmla="*/ 2 h 48"/>
                <a:gd name="T38" fmla="*/ 24 w 48"/>
                <a:gd name="T39" fmla="*/ 0 h 48"/>
                <a:gd name="T40" fmla="*/ 27 w 48"/>
                <a:gd name="T41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48">
                  <a:moveTo>
                    <a:pt x="27" y="2"/>
                  </a:moveTo>
                  <a:cubicBezTo>
                    <a:pt x="33" y="15"/>
                    <a:pt x="33" y="15"/>
                    <a:pt x="33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7" y="16"/>
                    <a:pt x="48" y="17"/>
                  </a:cubicBezTo>
                  <a:cubicBezTo>
                    <a:pt x="48" y="18"/>
                    <a:pt x="48" y="19"/>
                    <a:pt x="47" y="2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3" y="45"/>
                    <a:pt x="43" y="46"/>
                    <a:pt x="42" y="47"/>
                  </a:cubicBezTo>
                  <a:cubicBezTo>
                    <a:pt x="41" y="48"/>
                    <a:pt x="39" y="48"/>
                    <a:pt x="38" y="48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6" y="47"/>
                  </a:cubicBezTo>
                  <a:cubicBezTo>
                    <a:pt x="5" y="46"/>
                    <a:pt x="5" y="45"/>
                    <a:pt x="6" y="44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8"/>
                    <a:pt x="0" y="17"/>
                  </a:cubicBezTo>
                  <a:cubicBezTo>
                    <a:pt x="1" y="16"/>
                    <a:pt x="2" y="15"/>
                    <a:pt x="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3" y="0"/>
                    <a:pt x="24" y="0"/>
                  </a:cubicBezTo>
                  <a:cubicBezTo>
                    <a:pt x="25" y="0"/>
                    <a:pt x="26" y="1"/>
                    <a:pt x="27" y="2"/>
                  </a:cubicBezTo>
                  <a:close/>
                </a:path>
              </a:pathLst>
            </a:custGeom>
            <a:noFill/>
            <a:ln w="19050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DD3FF23D-73A0-44E1-862E-C7FB0F2E7589}"/>
              </a:ext>
            </a:extLst>
          </p:cNvPr>
          <p:cNvSpPr txBox="1"/>
          <p:nvPr/>
        </p:nvSpPr>
        <p:spPr>
          <a:xfrm>
            <a:off x="411480" y="6495898"/>
            <a:ext cx="3127459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Enrollment Partner Internal Executive Deck</a:t>
            </a:r>
          </a:p>
        </p:txBody>
      </p:sp>
    </p:spTree>
    <p:extLst>
      <p:ext uri="{BB962C8B-B14F-4D97-AF65-F5344CB8AC3E}">
        <p14:creationId xmlns:p14="http://schemas.microsoft.com/office/powerpoint/2010/main" val="89691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2">
      <a:dk1>
        <a:srgbClr val="000000"/>
      </a:dk1>
      <a:lt1>
        <a:srgbClr val="FFFFFF"/>
      </a:lt1>
      <a:dk2>
        <a:srgbClr val="004677"/>
      </a:dk2>
      <a:lt2>
        <a:srgbClr val="C8C9C7"/>
      </a:lt2>
      <a:accent1>
        <a:srgbClr val="228800"/>
      </a:accent1>
      <a:accent2>
        <a:srgbClr val="636669"/>
      </a:accent2>
      <a:accent3>
        <a:srgbClr val="00A9E0"/>
      </a:accent3>
      <a:accent4>
        <a:srgbClr val="004677"/>
      </a:accent4>
      <a:accent5>
        <a:srgbClr val="88C553"/>
      </a:accent5>
      <a:accent6>
        <a:srgbClr val="FFD100"/>
      </a:accent6>
      <a:hlink>
        <a:srgbClr val="268942"/>
      </a:hlink>
      <a:folHlink>
        <a:srgbClr val="61636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BF9DD49E-B382-44C9-AD5B-7BECD6922680}" vid="{B7428A98-D0B6-453A-99AA-45F4A3B0DB9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42</TotalTime>
  <Words>2185</Words>
  <Application>Microsoft Office PowerPoint</Application>
  <PresentationFormat>Widescreen</PresentationFormat>
  <Paragraphs>615</Paragraphs>
  <Slides>17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Calibri</vt:lpstr>
      <vt:lpstr>Office Theme</vt:lpstr>
      <vt:lpstr>think-cell Slide</vt:lpstr>
      <vt:lpstr>Digital Enrollment Partner Internal Executive Deck</vt:lpstr>
      <vt:lpstr>Report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RR Donnell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vitharani Venni</dc:creator>
  <cp:lastModifiedBy>Anand S</cp:lastModifiedBy>
  <cp:revision>1223</cp:revision>
  <dcterms:created xsi:type="dcterms:W3CDTF">2020-02-18T18:48:38Z</dcterms:created>
  <dcterms:modified xsi:type="dcterms:W3CDTF">2021-07-30T03:12:17Z</dcterms:modified>
</cp:coreProperties>
</file>